
<file path=[Content_Types].xml><?xml version="1.0" encoding="utf-8"?>
<Types xmlns="http://schemas.openxmlformats.org/package/2006/content-types">
  <Default ContentType="application/vnd.openxmlformats-officedocument.oleObject" Extension="bin"/>
  <Default ContentType="image/x-emf" Extension="emf"/>
  <Default ContentType="image/jpeg" Extension="jpeg"/>
  <Default ContentType="image/png" Extension="png"/>
  <Default ContentType="application/vnd.openxmlformats-package.relationships+xml" Extension="rels"/>
  <Default ContentType="image/svg+xml" Extension="svg"/>
  <Default ContentType="application/xml" Extension="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openxmlformats-officedocument.custom-properties+xml" PartName="/docProps/custom.xml"/>
  <Override ContentType="application/vnd.openxmlformats-officedocument.presentationml.commentAuthors+xml" PartName="/ppt/commentAuthors.xml"/>
  <Override ContentType="application/vnd.openxmlformats-officedocument.presentationml.notesMaster+xml" PartName="/ppt/notesMasters/notesMaster1.xml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2.xml"/>
  <Override ContentType="application/vnd.openxmlformats-officedocument.presentationml.presentation.main+xml" PartName="/ppt/presentation.xml"/>
  <Override ContentType="application/vnd.openxmlformats-officedocument.presentationml.presProps+xml" PartName="/ppt/presProps.xml"/>
  <Override ContentType="application/vnd.ms-powerpoint.revisioninfo+xml" PartName="/ppt/revisionInfo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presentationml.viewProps+xml" PartName="/ppt/viewProps.xml"/>
</Types>
</file>

<file path=_rels/.rels><?xml version="1.0" encoding="UTF-8" standalone="yes"?><Relationships xmlns="http://schemas.openxmlformats.org/package/2006/relationships"><Relationship Id="rId1" Target="ppt/presentation.xml" Type="http://schemas.openxmlformats.org/officeDocument/2006/relationships/officeDocument"/><Relationship Id="rId2" Target="docProps/core.xml" Type="http://schemas.openxmlformats.org/package/2006/relationships/metadata/core-properties"/><Relationship Id="rId3" Target="docProps/app.xml" Type="http://schemas.openxmlformats.org/officeDocument/2006/relationships/extended-properties"/><Relationship Id="rId4" Target="docProps/custom.xml" Type="http://schemas.openxmlformats.org/officeDocument/2006/relationships/custom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4"/>
  </p:notesMasterIdLst>
  <p:sldIdLst>
    <p:sldId id="1524" r:id="rId2"/>
    <p:sldId id="1526" r:id="rId3"/>
  </p:sldIdLst>
  <p:sldSz cx="9906000" cy="6858000" type="A4"/>
  <p:notesSz cx="6807200" cy="9939338"/>
  <p:custDataLst>
    <p:tags r:id="rId5"/>
  </p:custDataLst>
  <p:defaultTextStyle>
    <a:defPPr>
      <a:defRPr lang="ja-JP"/>
    </a:defPPr>
    <a:lvl1pPr marL="0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1pPr>
    <a:lvl2pPr marL="419938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2pPr>
    <a:lvl3pPr marL="839876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3pPr>
    <a:lvl4pPr marL="1259815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4pPr>
    <a:lvl5pPr marL="1679753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5pPr>
    <a:lvl6pPr marL="2099691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6pPr>
    <a:lvl7pPr marL="2519629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7pPr>
    <a:lvl8pPr marL="2939567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8pPr>
    <a:lvl9pPr marL="3359506" algn="l" defTabSz="839876" rtl="0" eaLnBrk="1" latinLnBrk="0" hangingPunct="1">
      <a:defRPr kumimoji="1" sz="1653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概要書" id="{CE8CEA02-ECB9-42AB-90AC-56DEDEE1D8D9}">
          <p14:sldIdLst>
            <p14:sldId id="1524"/>
          </p14:sldIdLst>
        </p14:section>
        <p14:section name="記入例" id="{9EEEDA0B-B904-4453-8194-5517D161C1A6}">
          <p14:sldIdLst>
            <p14:sldId id="152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新山 貴俊" initials="新山" lastIdx="1" clrIdx="0">
    <p:extLst>
      <p:ext uri="{19B8F6BF-5375-455C-9EA6-DF929625EA0E}">
        <p15:presenceInfo xmlns:p15="http://schemas.microsoft.com/office/powerpoint/2012/main" userId="S::NIIYAM01@moe.go.jp::49323f4e-8c13-4be4-b97f-448439a34efe" providerId="AD"/>
      </p:ext>
    </p:extLst>
  </p:cmAuthor>
  <p:cmAuthor id="2" name="大嶋 恭子（KYOKO OSHIMA）" initials="大嶋" lastIdx="6" clrIdx="1">
    <p:extLst>
      <p:ext uri="{19B8F6BF-5375-455C-9EA6-DF929625EA0E}">
        <p15:presenceInfo xmlns:p15="http://schemas.microsoft.com/office/powerpoint/2012/main" userId="S::OSHIMA12@moe.go.jp::3f82ce6d-bf14-465d-963b-c7a8a4ca8870" providerId="AD"/>
      </p:ext>
    </p:extLst>
  </p:cmAuthor>
  <p:cmAuthor id="3" name="進 高行（TAKAYUKI SHIN）" initials="進S" lastIdx="3" clrIdx="2">
    <p:extLst>
      <p:ext uri="{19B8F6BF-5375-455C-9EA6-DF929625EA0E}">
        <p15:presenceInfo xmlns:p15="http://schemas.microsoft.com/office/powerpoint/2012/main" userId="S::shin02@moe.go.jp::6fc81a82-2cb6-4d82-8520-4196d8d581a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C89"/>
    <a:srgbClr val="FFFFCC"/>
    <a:srgbClr val="FFFFFF"/>
    <a:srgbClr val="D7F2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F891DF6-F655-45AC-9D45-299CC4120228}" v="13" dt="2023-07-27T01:37:22.841"/>
    <p1510:client id="{146FB62E-D31E-4172-858E-21D4B7F14E32}" v="12" dt="2023-07-28T00:08:58.643"/>
    <p1510:client id="{52BA9D9A-E604-0EBC-F7B3-27AA30B9BAF3}" v="16" dt="2023-07-28T00:16:45.354"/>
    <p1510:client id="{8066E671-3AE8-4F0F-951A-2CF971F88D2A}" v="12" dt="2023-07-27T03:34:51.863"/>
    <p1510:client id="{865C7F69-E855-477E-8EDA-C76C8889B9A8}" v="164" dt="2023-07-27T09:16:41.395"/>
    <p1510:client id="{EA6156B1-FA27-48C9-821C-7A3CAD4B1F6C}" v="106" dt="2023-07-27T00:50:21.889"/>
    <p1510:client id="{EB9B1173-A30E-4D84-BB24-506D3A424479}" v="1" dt="2023-07-27T01:44:38.820"/>
    <p1510:client id="{F6286053-1736-4AAE-A029-4D17D9C752A1}" v="195" dt="2023-07-27T03:40:31.5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淡色スタイル 1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淡色スタイル 1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660"/>
  </p:normalViewPr>
  <p:slideViewPr>
    <p:cSldViewPr snapToGrid="0">
      <p:cViewPr varScale="1">
        <p:scale>
          <a:sx n="67" d="100"/>
          <a:sy n="67" d="100"/>
        </p:scale>
        <p:origin x="724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<Relationships xmlns="http://schemas.openxmlformats.org/package/2006/relationships"><Relationship Id="rId1" Target="slideMasters/slideMaster1.xml" Type="http://schemas.openxmlformats.org/officeDocument/2006/relationships/slideMaster"/><Relationship Id="rId10" Target="tableStyles.xml" Type="http://schemas.openxmlformats.org/officeDocument/2006/relationships/tableStyles"/><Relationship Id="rId11" Target="revisionInfo.xml" Type="http://schemas.microsoft.com/office/2015/10/relationships/revisionInfo"/><Relationship Id="rId2" Target="slides/slide1.xml" Type="http://schemas.openxmlformats.org/officeDocument/2006/relationships/slide"/><Relationship Id="rId3" Target="slides/slide2.xml" Type="http://schemas.openxmlformats.org/officeDocument/2006/relationships/slide"/><Relationship Id="rId4" Target="notesMasters/notesMaster1.xml" Type="http://schemas.openxmlformats.org/officeDocument/2006/relationships/notesMaster"/><Relationship Id="rId5" Target="tags/tag1.xml" Type="http://schemas.openxmlformats.org/officeDocument/2006/relationships/tags"/><Relationship Id="rId6" Target="commentAuthors.xml" Type="http://schemas.openxmlformats.org/officeDocument/2006/relationships/commentAuthors"/><Relationship Id="rId7" Target="presProps.xml" Type="http://schemas.openxmlformats.org/officeDocument/2006/relationships/presProps"/><Relationship Id="rId8" Target="viewProps.xml" Type="http://schemas.openxmlformats.org/officeDocument/2006/relationships/viewProps"/><Relationship Id="rId9" Target="theme/theme1.xml" Type="http://schemas.openxmlformats.org/officeDocument/2006/relationships/theme"/></Relationships>
</file>

<file path=ppt/notesMasters/_rels/notesMaster1.xml.rels><?xml version="1.0" encoding="UTF-8" standalone="yes"?><Relationships xmlns="http://schemas.openxmlformats.org/package/2006/relationships"><Relationship Id="rId1" Target="../theme/theme2.xml" Type="http://schemas.openxmlformats.org/officeDocument/2006/relationships/theme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6038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A3A366-18D8-487E-BA3E-3E48B2E60B5E}" type="datetimeFigureOut">
              <a:rPr kumimoji="1" lang="en-US" smtClean="0"/>
              <a:t>8/8/2023</a:t>
            </a:fld>
            <a:endParaRPr kumimoji="1" 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1038" y="4783138"/>
            <a:ext cx="5445125" cy="39131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6038" y="9440863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B87251-69ED-4350-BB0B-12262A29A328}" type="slidenum">
              <a:rPr kumimoji="1" lang="en-US" smtClean="0"/>
              <a:t>‹#›</a:t>
            </a:fld>
            <a:endParaRPr kumimoji="1" lang="en-US"/>
          </a:p>
        </p:txBody>
      </p:sp>
    </p:spTree>
    <p:extLst>
      <p:ext uri="{BB962C8B-B14F-4D97-AF65-F5344CB8AC3E}">
        <p14:creationId xmlns:p14="http://schemas.microsoft.com/office/powerpoint/2010/main" val="42122512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1pPr>
    <a:lvl2pPr marL="419938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2pPr>
    <a:lvl3pPr marL="839876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3pPr>
    <a:lvl4pPr marL="1259815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4pPr>
    <a:lvl5pPr marL="1679753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5pPr>
    <a:lvl6pPr marL="2099691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6pPr>
    <a:lvl7pPr marL="2519629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7pPr>
    <a:lvl8pPr marL="2939567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8pPr>
    <a:lvl9pPr marL="3359506" algn="l" defTabSz="839876" rtl="0" eaLnBrk="1" latinLnBrk="0" hangingPunct="1">
      <a:defRPr kumimoji="1" sz="1102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1.xml" Type="http://schemas.openxmlformats.org/officeDocument/2006/relationships/slide"/></Relationships>
</file>

<file path=ppt/notesSlides/_rels/notesSlide2.xml.rels><?xml version="1.0" encoding="UTF-8" standalone="yes"?><Relationships xmlns="http://schemas.openxmlformats.org/package/2006/relationships"><Relationship Id="rId1" Target="../notesMasters/notesMaster1.xml" Type="http://schemas.openxmlformats.org/officeDocument/2006/relationships/notesMaster"/><Relationship Id="rId2" Target="../slides/slide2.xml" Type="http://schemas.openxmlformats.org/officeDocument/2006/relationships/slide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46150" y="1222375"/>
            <a:ext cx="4773613" cy="3306763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887833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46150" y="1222375"/>
            <a:ext cx="4773613" cy="3306763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74965479"/>
      </p:ext>
    </p:extLst>
  </p:cSld>
  <p:clrMapOvr>
    <a:masterClrMapping/>
  </p:clrMapOvr>
</p:notes>
</file>

<file path=ppt/slideLayouts/_rels/slideLayout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2.jpeg" Type="http://schemas.openxmlformats.org/officeDocument/2006/relationships/image"/><Relationship Id="rId3" Target="../media/image3.png" Type="http://schemas.openxmlformats.org/officeDocument/2006/relationships/image"/><Relationship Id="rId4" Target="../media/image4.png" Type="http://schemas.openxmlformats.org/officeDocument/2006/relationships/image"/><Relationship Id="rId5" Target="../media/image5.png" Type="http://schemas.openxmlformats.org/officeDocument/2006/relationships/image"/><Relationship Id="rId6" Target="../media/image6.png" Type="http://schemas.openxmlformats.org/officeDocument/2006/relationships/image"/><Relationship Id="rId7" Target="../media/image7.jpeg" Type="http://schemas.openxmlformats.org/officeDocument/2006/relationships/image"/></Relationships>
</file>

<file path=ppt/slideLayouts/_rels/slideLayout10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3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8.jpeg" Type="http://schemas.openxmlformats.org/officeDocument/2006/relationships/image"/></Relationships>
</file>

<file path=ppt/slideLayouts/_rels/slideLayout4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8.jpeg" Type="http://schemas.openxmlformats.org/officeDocument/2006/relationships/image"/></Relationships>
</file>

<file path=ppt/slideLayouts/_rels/slideLayout5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8.jpeg" Type="http://schemas.openxmlformats.org/officeDocument/2006/relationships/image"/></Relationships>
</file>

<file path=ppt/slideLayouts/_rels/slideLayout6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9.jpeg" Type="http://schemas.openxmlformats.org/officeDocument/2006/relationships/image"/></Relationships>
</file>

<file path=ppt/slideLayouts/_rels/slideLayout7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10.png" Type="http://schemas.openxmlformats.org/officeDocument/2006/relationships/image"/><Relationship Id="rId3" Target="../media/image11.svg" Type="http://schemas.openxmlformats.org/officeDocument/2006/relationships/image"/><Relationship Id="rId4" Target="../media/image12.png" Type="http://schemas.openxmlformats.org/officeDocument/2006/relationships/image"/><Relationship Id="rId5" Target="../media/image13.svg" Type="http://schemas.openxmlformats.org/officeDocument/2006/relationships/image"/><Relationship Id="rId6" Target="../media/image14.jpeg" Type="http://schemas.openxmlformats.org/officeDocument/2006/relationships/image"/></Relationships>
</file>

<file path=ppt/slideLayouts/_rels/slideLayout8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Relationship Id="rId2" Target="../media/image7.jpeg" Type="http://schemas.openxmlformats.org/officeDocument/2006/relationships/image"/></Relationships>
</file>

<file path=ppt/slideLayouts/_rels/slideLayout9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4F33A39-73E7-49E0-BF4C-2CE0E2DB7091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>
              <a:solidFill>
                <a:schemeClr val="tx1"/>
              </a:solidFill>
            </a:endParaRP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6F38512C-2C72-40C3-B679-1FEABC48B48C}"/>
              </a:ext>
            </a:extLst>
          </p:cNvPr>
          <p:cNvGrpSpPr/>
          <p:nvPr userDrawn="1"/>
        </p:nvGrpSpPr>
        <p:grpSpPr>
          <a:xfrm>
            <a:off x="2275974" y="5715294"/>
            <a:ext cx="5443286" cy="635369"/>
            <a:chOff x="2456520" y="6387031"/>
            <a:chExt cx="5875085" cy="700377"/>
          </a:xfrm>
        </p:grpSpPr>
        <p:pic>
          <p:nvPicPr>
            <p:cNvPr id="9" name="図 8">
              <a:extLst>
                <a:ext uri="{FF2B5EF4-FFF2-40B4-BE49-F238E27FC236}">
                  <a16:creationId xmlns:a16="http://schemas.microsoft.com/office/drawing/2014/main" id="{48EFA85C-A46F-4AC1-8E75-830689451B2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l="25425" t="26413" r="27381" b="26835"/>
            <a:stretch/>
          </p:blipFill>
          <p:spPr>
            <a:xfrm>
              <a:off x="4927824" y="6387031"/>
              <a:ext cx="991169" cy="700377"/>
            </a:xfrm>
            <a:prstGeom prst="rect">
              <a:avLst/>
            </a:prstGeom>
          </p:spPr>
        </p:pic>
        <p:pic>
          <p:nvPicPr>
            <p:cNvPr id="10" name="図 9">
              <a:extLst>
                <a:ext uri="{FF2B5EF4-FFF2-40B4-BE49-F238E27FC236}">
                  <a16:creationId xmlns:a16="http://schemas.microsoft.com/office/drawing/2014/main" id="{9F5C018F-8455-43E6-B9B6-228E8AD043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106890" y="6463627"/>
              <a:ext cx="614647" cy="526500"/>
            </a:xfrm>
            <a:prstGeom prst="rect">
              <a:avLst/>
            </a:prstGeom>
          </p:spPr>
        </p:pic>
        <p:pic>
          <p:nvPicPr>
            <p:cNvPr id="11" name="図 10">
              <a:extLst>
                <a:ext uri="{FF2B5EF4-FFF2-40B4-BE49-F238E27FC236}">
                  <a16:creationId xmlns:a16="http://schemas.microsoft.com/office/drawing/2014/main" id="{34A081C5-EF14-4467-B19D-E35B6B3CBA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2456520" y="6498254"/>
              <a:ext cx="946944" cy="536322"/>
            </a:xfrm>
            <a:prstGeom prst="rect">
              <a:avLst/>
            </a:prstGeom>
          </p:spPr>
        </p:pic>
        <p:pic>
          <p:nvPicPr>
            <p:cNvPr id="12" name="図 11">
              <a:extLst>
                <a:ext uri="{FF2B5EF4-FFF2-40B4-BE49-F238E27FC236}">
                  <a16:creationId xmlns:a16="http://schemas.microsoft.com/office/drawing/2014/main" id="{353D9AAD-EE32-457B-B8B4-29FF67E0F4E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635177" y="6432722"/>
              <a:ext cx="1292647" cy="641986"/>
            </a:xfrm>
            <a:prstGeom prst="rect">
              <a:avLst/>
            </a:prstGeom>
          </p:spPr>
        </p:pic>
        <p:pic>
          <p:nvPicPr>
            <p:cNvPr id="13" name="図 12">
              <a:extLst>
                <a:ext uri="{FF2B5EF4-FFF2-40B4-BE49-F238E27FC236}">
                  <a16:creationId xmlns:a16="http://schemas.microsoft.com/office/drawing/2014/main" id="{E3FD0292-C091-43A1-9252-D1D0C6352D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7044047" y="6463627"/>
              <a:ext cx="1287558" cy="494981"/>
            </a:xfrm>
            <a:prstGeom prst="rect">
              <a:avLst/>
            </a:prstGeom>
          </p:spPr>
        </p:pic>
      </p:grpSp>
      <p:pic>
        <p:nvPicPr>
          <p:cNvPr id="14" name="Picture 2">
            <a:extLst>
              <a:ext uri="{FF2B5EF4-FFF2-40B4-BE49-F238E27FC236}">
                <a16:creationId xmlns:a16="http://schemas.microsoft.com/office/drawing/2014/main" id="{76484A44-3003-4277-9737-236918E2A04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5878" y="1359896"/>
            <a:ext cx="1796216" cy="61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3" name="グループ化 22">
            <a:extLst>
              <a:ext uri="{FF2B5EF4-FFF2-40B4-BE49-F238E27FC236}">
                <a16:creationId xmlns:a16="http://schemas.microsoft.com/office/drawing/2014/main" id="{69427F34-BDBE-48D8-A7F4-1EE85CF4440A}"/>
              </a:ext>
            </a:extLst>
          </p:cNvPr>
          <p:cNvGrpSpPr/>
          <p:nvPr userDrawn="1"/>
        </p:nvGrpSpPr>
        <p:grpSpPr>
          <a:xfrm>
            <a:off x="958477" y="2714141"/>
            <a:ext cx="7989045" cy="914438"/>
            <a:chOff x="1034510" y="2991837"/>
            <a:chExt cx="8622792" cy="1007999"/>
          </a:xfrm>
        </p:grpSpPr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4E3800AC-DAF6-41B1-810E-4A51489649E0}"/>
                </a:ext>
              </a:extLst>
            </p:cNvPr>
            <p:cNvCxnSpPr/>
            <p:nvPr userDrawn="1"/>
          </p:nvCxnSpPr>
          <p:spPr>
            <a:xfrm>
              <a:off x="1034510" y="2991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線コネクタ 15">
              <a:extLst>
                <a:ext uri="{FF2B5EF4-FFF2-40B4-BE49-F238E27FC236}">
                  <a16:creationId xmlns:a16="http://schemas.microsoft.com/office/drawing/2014/main" id="{7CF90A11-AE44-4385-824C-1819712F0D92}"/>
                </a:ext>
              </a:extLst>
            </p:cNvPr>
            <p:cNvCxnSpPr/>
            <p:nvPr userDrawn="1"/>
          </p:nvCxnSpPr>
          <p:spPr>
            <a:xfrm>
              <a:off x="1034510" y="3999836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タイトル 29">
            <a:extLst>
              <a:ext uri="{FF2B5EF4-FFF2-40B4-BE49-F238E27FC236}">
                <a16:creationId xmlns:a16="http://schemas.microsoft.com/office/drawing/2014/main" id="{D7232AF9-EC33-4888-B5A0-D03E836B43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477" y="2714140"/>
            <a:ext cx="8004988" cy="914439"/>
          </a:xfrm>
          <a:prstGeom prst="rect">
            <a:avLst/>
          </a:prstGeom>
        </p:spPr>
        <p:txBody>
          <a:bodyPr lIns="0" tIns="72000" rIns="0" bIns="0" anchor="ctr" anchorCtr="0">
            <a:normAutofit/>
          </a:bodyPr>
          <a:lstStyle>
            <a:lvl1pPr>
              <a:defRPr lang="ja-JP" altLang="en-US" sz="3266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marL="0" lvl="0" indent="0" algn="ctr">
              <a:spcBef>
                <a:spcPts val="1000"/>
              </a:spcBef>
              <a:buFontTx/>
            </a:pPr>
            <a:r>
              <a:rPr kumimoji="1" lang="ja-JP" altLang="en-US"/>
              <a:t>表紙タイトル</a:t>
            </a:r>
          </a:p>
        </p:txBody>
      </p:sp>
      <p:sp>
        <p:nvSpPr>
          <p:cNvPr id="27" name="コンテンツ プレースホルダー 21">
            <a:extLst>
              <a:ext uri="{FF2B5EF4-FFF2-40B4-BE49-F238E27FC236}">
                <a16:creationId xmlns:a16="http://schemas.microsoft.com/office/drawing/2014/main" id="{730FB38C-75FA-4F17-A448-34BAAD2B475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58477" y="3763721"/>
            <a:ext cx="8004988" cy="39190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814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サブタイトル</a:t>
            </a:r>
          </a:p>
        </p:txBody>
      </p:sp>
      <p:sp>
        <p:nvSpPr>
          <p:cNvPr id="31" name="コンテンツ プレースホルダー 21">
            <a:extLst>
              <a:ext uri="{FF2B5EF4-FFF2-40B4-BE49-F238E27FC236}">
                <a16:creationId xmlns:a16="http://schemas.microsoft.com/office/drawing/2014/main" id="{9693F458-7CAF-4411-88EF-755A4D8136D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293265" y="4931489"/>
            <a:ext cx="3335412" cy="26126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0000</a:t>
            </a:r>
            <a:r>
              <a:rPr kumimoji="1" lang="ja-JP" altLang="en-US"/>
              <a:t>年</a:t>
            </a:r>
            <a:r>
              <a:rPr kumimoji="1" lang="en-US" altLang="ja-JP"/>
              <a:t>00</a:t>
            </a:r>
            <a:r>
              <a:rPr kumimoji="1" lang="ja-JP" altLang="en-US"/>
              <a:t>月</a:t>
            </a:r>
            <a:r>
              <a:rPr kumimoji="1" lang="en-US" altLang="ja-JP"/>
              <a:t>00</a:t>
            </a:r>
            <a:r>
              <a:rPr kumimoji="1" lang="ja-JP" altLang="en-US"/>
              <a:t>日</a:t>
            </a:r>
          </a:p>
        </p:txBody>
      </p:sp>
      <p:sp>
        <p:nvSpPr>
          <p:cNvPr id="32" name="コンテンツ プレースホルダー 21">
            <a:extLst>
              <a:ext uri="{FF2B5EF4-FFF2-40B4-BE49-F238E27FC236}">
                <a16:creationId xmlns:a16="http://schemas.microsoft.com/office/drawing/2014/main" id="{1645C6DC-6217-43BE-8989-B6A0BD9C234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93265" y="5192757"/>
            <a:ext cx="3335412" cy="26126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633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所属　名前</a:t>
            </a:r>
          </a:p>
        </p:txBody>
      </p:sp>
    </p:spTree>
    <p:extLst>
      <p:ext uri="{BB962C8B-B14F-4D97-AF65-F5344CB8AC3E}">
        <p14:creationId xmlns:p14="http://schemas.microsoft.com/office/powerpoint/2010/main" val="3282228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A36CE-E602-4651-B4F8-DD0931A63147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3/8/8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BC0A16-F725-47DD-AAAF-F90F9DB4D7F0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8079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A41B1502-2511-437B-8D13-C5707D9425E0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>
              <a:solidFill>
                <a:schemeClr val="tx1"/>
              </a:solidFill>
            </a:endParaRPr>
          </a:p>
        </p:txBody>
      </p:sp>
      <p:grpSp>
        <p:nvGrpSpPr>
          <p:cNvPr id="4" name="グループ化 3">
            <a:extLst>
              <a:ext uri="{FF2B5EF4-FFF2-40B4-BE49-F238E27FC236}">
                <a16:creationId xmlns:a16="http://schemas.microsoft.com/office/drawing/2014/main" id="{6022BE2B-C94E-4EA1-8D5F-B6FF40A5C82B}"/>
              </a:ext>
            </a:extLst>
          </p:cNvPr>
          <p:cNvGrpSpPr/>
          <p:nvPr userDrawn="1"/>
        </p:nvGrpSpPr>
        <p:grpSpPr>
          <a:xfrm>
            <a:off x="958477" y="2645195"/>
            <a:ext cx="7989045" cy="1567610"/>
            <a:chOff x="1034510" y="2991837"/>
            <a:chExt cx="8622792" cy="1728000"/>
          </a:xfrm>
        </p:grpSpPr>
        <p:cxnSp>
          <p:nvCxnSpPr>
            <p:cNvPr id="5" name="直線コネクタ 4">
              <a:extLst>
                <a:ext uri="{FF2B5EF4-FFF2-40B4-BE49-F238E27FC236}">
                  <a16:creationId xmlns:a16="http://schemas.microsoft.com/office/drawing/2014/main" id="{4FC838C0-7A1B-42C5-8BB1-69879692B23E}"/>
                </a:ext>
              </a:extLst>
            </p:cNvPr>
            <p:cNvCxnSpPr/>
            <p:nvPr userDrawn="1"/>
          </p:nvCxnSpPr>
          <p:spPr>
            <a:xfrm>
              <a:off x="1034510" y="2991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直線コネクタ 5">
              <a:extLst>
                <a:ext uri="{FF2B5EF4-FFF2-40B4-BE49-F238E27FC236}">
                  <a16:creationId xmlns:a16="http://schemas.microsoft.com/office/drawing/2014/main" id="{97EB7B27-A3AA-4865-967F-947004C8CF38}"/>
                </a:ext>
              </a:extLst>
            </p:cNvPr>
            <p:cNvCxnSpPr/>
            <p:nvPr userDrawn="1"/>
          </p:nvCxnSpPr>
          <p:spPr>
            <a:xfrm>
              <a:off x="1034510" y="4719837"/>
              <a:ext cx="8622792" cy="0"/>
            </a:xfrm>
            <a:prstGeom prst="line">
              <a:avLst/>
            </a:prstGeom>
            <a:ln w="28575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タイトル 29">
            <a:extLst>
              <a:ext uri="{FF2B5EF4-FFF2-40B4-BE49-F238E27FC236}">
                <a16:creationId xmlns:a16="http://schemas.microsoft.com/office/drawing/2014/main" id="{99661971-5207-448A-8A45-D3935E63EB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477" y="2645195"/>
            <a:ext cx="8004988" cy="1567610"/>
          </a:xfrm>
          <a:prstGeom prst="rect">
            <a:avLst/>
          </a:prstGeom>
        </p:spPr>
        <p:txBody>
          <a:bodyPr lIns="0" tIns="72000" rIns="0" bIns="0" anchor="ctr" anchorCtr="0">
            <a:normAutofit/>
          </a:bodyPr>
          <a:lstStyle>
            <a:lvl1pPr>
              <a:defRPr lang="ja-JP" altLang="en-US" sz="3266" b="1" dirty="0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</a:defRPr>
            </a:lvl1pPr>
          </a:lstStyle>
          <a:p>
            <a:pPr marL="0" lvl="0" indent="0" algn="ctr">
              <a:spcBef>
                <a:spcPts val="1000"/>
              </a:spcBef>
              <a:buFontTx/>
            </a:pPr>
            <a:r>
              <a:rPr kumimoji="1" lang="ja-JP" altLang="en-US"/>
              <a:t>中扉タイトル</a:t>
            </a: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F65B5CD1-16BF-4814-9E5A-19B044B6FB5E}"/>
              </a:ext>
            </a:extLst>
          </p:cNvPr>
          <p:cNvSpPr txBox="1"/>
          <p:nvPr userDrawn="1"/>
        </p:nvSpPr>
        <p:spPr>
          <a:xfrm>
            <a:off x="9439042" y="6400781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177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452" b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60582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73E2C914-D6BF-434B-B748-5B031C7A75D4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8" name="Picture 11" descr="ç°å¢ç">
              <a:extLst>
                <a:ext uri="{FF2B5EF4-FFF2-40B4-BE49-F238E27FC236}">
                  <a16:creationId xmlns:a16="http://schemas.microsoft.com/office/drawing/2014/main" id="{4DD819AC-A446-46A2-9201-D9B1AB528E0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9E9EE105-883D-4267-B8FF-D61BDDD6E4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cxnSp>
          <p:nvCxnSpPr>
            <p:cNvPr id="22" name="直線コネクタ 21">
              <a:extLst>
                <a:ext uri="{FF2B5EF4-FFF2-40B4-BE49-F238E27FC236}">
                  <a16:creationId xmlns:a16="http://schemas.microsoft.com/office/drawing/2014/main" id="{CFE261A9-5D80-457A-85AA-206E048CF0D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線コネクタ 22">
              <a:extLst>
                <a:ext uri="{FF2B5EF4-FFF2-40B4-BE49-F238E27FC236}">
                  <a16:creationId xmlns:a16="http://schemas.microsoft.com/office/drawing/2014/main" id="{B3443AF7-632D-41F2-BFF3-7CC6B2F2E6F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フリーフォーム: 図形 13">
            <a:extLst>
              <a:ext uri="{FF2B5EF4-FFF2-40B4-BE49-F238E27FC236}">
                <a16:creationId xmlns:a16="http://schemas.microsoft.com/office/drawing/2014/main" id="{665A837A-D774-4985-B30F-35B13836C960}"/>
              </a:ext>
            </a:extLst>
          </p:cNvPr>
          <p:cNvSpPr/>
          <p:nvPr userDrawn="1"/>
        </p:nvSpPr>
        <p:spPr>
          <a:xfrm>
            <a:off x="998831" y="1620608"/>
            <a:ext cx="0" cy="4572197"/>
          </a:xfrm>
          <a:custGeom>
            <a:avLst/>
            <a:gdLst>
              <a:gd name="connsiteX0" fmla="*/ 0 w 0"/>
              <a:gd name="connsiteY0" fmla="*/ 0 h 5768502"/>
              <a:gd name="connsiteX1" fmla="*/ 0 w 0"/>
              <a:gd name="connsiteY1" fmla="*/ 5768502 h 5768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5768502">
                <a:moveTo>
                  <a:pt x="0" y="0"/>
                </a:moveTo>
                <a:lnTo>
                  <a:pt x="0" y="5768502"/>
                </a:lnTo>
              </a:path>
            </a:pathLst>
          </a:custGeom>
          <a:noFill/>
          <a:ln w="571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500"/>
          </a:p>
        </p:txBody>
      </p:sp>
      <p:sp>
        <p:nvSpPr>
          <p:cNvPr id="9" name="コンテンツ プレースホルダー 8">
            <a:extLst>
              <a:ext uri="{FF2B5EF4-FFF2-40B4-BE49-F238E27FC236}">
                <a16:creationId xmlns:a16="http://schemas.microsoft.com/office/drawing/2014/main" id="{B04FFEFF-3996-4124-93D0-A0B919888837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998831" y="1620608"/>
            <a:ext cx="8004988" cy="4572197"/>
          </a:xfrm>
          <a:prstGeom prst="rect">
            <a:avLst/>
          </a:prstGeom>
        </p:spPr>
        <p:txBody>
          <a:bodyPr lIns="360000" tIns="0" rIns="0" bIns="0"/>
          <a:lstStyle>
            <a:lvl1pPr marL="674004" indent="-674004" algn="l">
              <a:lnSpc>
                <a:spcPct val="100000"/>
              </a:lnSpc>
              <a:spcBef>
                <a:spcPts val="907"/>
              </a:spcBef>
              <a:spcAft>
                <a:spcPts val="0"/>
              </a:spcAft>
              <a:buClr>
                <a:schemeClr val="bg2"/>
              </a:buClr>
              <a:buFont typeface="+mj-lt"/>
              <a:buAutoNum type="arabicPeriod"/>
              <a:defRPr sz="3629" b="1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章タイトル</a:t>
            </a:r>
          </a:p>
          <a:p>
            <a:pPr lvl="0"/>
            <a:r>
              <a:rPr kumimoji="1" lang="ja-JP" altLang="en-US"/>
              <a:t>章タイトル</a:t>
            </a:r>
          </a:p>
          <a:p>
            <a:pPr lvl="0"/>
            <a:r>
              <a:rPr kumimoji="1" lang="ja-JP" altLang="en-US"/>
              <a:t>章タイトル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5DFA1F2F-14B9-4F01-A5B6-2EF2AFAA50B7}"/>
              </a:ext>
            </a:extLst>
          </p:cNvPr>
          <p:cNvSpPr txBox="1"/>
          <p:nvPr userDrawn="1"/>
        </p:nvSpPr>
        <p:spPr>
          <a:xfrm>
            <a:off x="9439042" y="6400781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177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452" b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066210EB-D44E-4903-B9C4-9EC74DA6CEB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5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ページタイトル</a:t>
            </a:r>
          </a:p>
        </p:txBody>
      </p:sp>
    </p:spTree>
    <p:extLst>
      <p:ext uri="{BB962C8B-B14F-4D97-AF65-F5344CB8AC3E}">
        <p14:creationId xmlns:p14="http://schemas.microsoft.com/office/powerpoint/2010/main" val="3915556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通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84E94A25-457B-4C69-BCBB-B6E75CF3EAE9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2" name="Picture 11" descr="ç°å¢ç">
              <a:extLst>
                <a:ext uri="{FF2B5EF4-FFF2-40B4-BE49-F238E27FC236}">
                  <a16:creationId xmlns:a16="http://schemas.microsoft.com/office/drawing/2014/main" id="{07D0D304-6149-4CE8-9131-6501AD8C4DB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9C11AADA-214E-4AA2-A50B-CB0C5BCCD0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cxnSp>
          <p:nvCxnSpPr>
            <p:cNvPr id="14" name="直線コネクタ 13">
              <a:extLst>
                <a:ext uri="{FF2B5EF4-FFF2-40B4-BE49-F238E27FC236}">
                  <a16:creationId xmlns:a16="http://schemas.microsoft.com/office/drawing/2014/main" id="{C3EA7B83-0BC5-41C6-B977-EBF87258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DCF51C44-4554-4691-96EB-AB4829C3282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4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ページタイトル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7520773C-E087-4FC7-A90E-8421A85140B2}"/>
              </a:ext>
            </a:extLst>
          </p:cNvPr>
          <p:cNvSpPr txBox="1"/>
          <p:nvPr userDrawn="1"/>
        </p:nvSpPr>
        <p:spPr>
          <a:xfrm>
            <a:off x="9439042" y="6400781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177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452" b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6" name="コンテンツ プレースホルダー 3">
            <a:extLst>
              <a:ext uri="{FF2B5EF4-FFF2-40B4-BE49-F238E27FC236}">
                <a16:creationId xmlns:a16="http://schemas.microsoft.com/office/drawing/2014/main" id="{C1791075-645A-44CE-9A5F-5011B74CA08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1007807"/>
            <a:ext cx="9605952" cy="1351291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80000" tIns="180000" rIns="180000" bIns="144000">
            <a:spAutoFit/>
          </a:bodyPr>
          <a:lstStyle>
            <a:lvl1pPr marL="247711" indent="-247711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814"/>
            </a:lvl1pPr>
            <a:lvl2pPr marL="406131" indent="-158420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633"/>
            </a:lvl2pPr>
            <a:lvl3pPr marL="626479" indent="-211707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1452"/>
            </a:lvl3pPr>
            <a:lvl4pPr marL="820903" indent="-195864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defRPr sz="1089"/>
            </a:lvl4pPr>
            <a:lvl5pPr algn="l">
              <a:defRPr sz="1814"/>
            </a:lvl5pPr>
          </a:lstStyle>
          <a:p>
            <a:pPr lvl="0"/>
            <a:r>
              <a:rPr kumimoji="1" lang="ja-JP" altLang="en-US"/>
              <a:t>リード文（</a:t>
            </a:r>
            <a:r>
              <a:rPr kumimoji="1" lang="en-US" altLang="ja-JP"/>
              <a:t>Tab</a:t>
            </a:r>
            <a:r>
              <a:rPr kumimoji="1" lang="ja-JP" altLang="en-US"/>
              <a:t>キーで行頭文字を第</a:t>
            </a:r>
            <a:r>
              <a:rPr kumimoji="1" lang="en-US" altLang="ja-JP"/>
              <a:t>4</a:t>
            </a:r>
            <a:r>
              <a:rPr kumimoji="1" lang="ja-JP" altLang="en-US"/>
              <a:t>レベルまで選択できます）</a:t>
            </a:r>
          </a:p>
          <a:p>
            <a:pPr lvl="1"/>
            <a:r>
              <a:rPr kumimoji="1" lang="ja-JP" altLang="en-US"/>
              <a:t>第</a:t>
            </a:r>
            <a:r>
              <a:rPr kumimoji="1" lang="en-US" altLang="ja-JP"/>
              <a:t>2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</a:t>
            </a:r>
            <a:r>
              <a:rPr kumimoji="1" lang="en-US" altLang="ja-JP"/>
              <a:t>3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3"/>
            <a:r>
              <a:rPr kumimoji="1" lang="ja-JP" altLang="en-US"/>
              <a:t>第</a:t>
            </a:r>
            <a:r>
              <a:rPr kumimoji="1" lang="en-US" altLang="ja-JP"/>
              <a:t>4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9016658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階層あり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8FD50C7F-9ACA-4B30-8C3B-E73A326DFDE0}"/>
              </a:ext>
            </a:extLst>
          </p:cNvPr>
          <p:cNvSpPr txBox="1"/>
          <p:nvPr userDrawn="1"/>
        </p:nvSpPr>
        <p:spPr>
          <a:xfrm>
            <a:off x="9439042" y="6400781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177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452" b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53" name="コンテンツ プレースホルダー 3">
            <a:extLst>
              <a:ext uri="{FF2B5EF4-FFF2-40B4-BE49-F238E27FC236}">
                <a16:creationId xmlns:a16="http://schemas.microsoft.com/office/drawing/2014/main" id="{7038EB8A-9FB3-4B3E-A554-367E9CB41E9D}"/>
              </a:ext>
            </a:extLst>
          </p:cNvPr>
          <p:cNvSpPr>
            <a:spLocks noGrp="1"/>
          </p:cNvSpPr>
          <p:nvPr userDrawn="1">
            <p:ph sz="quarter" idx="10" hasCustomPrompt="1"/>
          </p:nvPr>
        </p:nvSpPr>
        <p:spPr>
          <a:xfrm>
            <a:off x="150024" y="29271"/>
            <a:ext cx="8605363" cy="22861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1270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第</a:t>
            </a:r>
            <a:r>
              <a:rPr kumimoji="1" lang="en-US" altLang="ja-JP"/>
              <a:t>1</a:t>
            </a:r>
            <a:r>
              <a:rPr kumimoji="1" lang="ja-JP" altLang="en-US"/>
              <a:t>階層（例：表紙タイトル）</a:t>
            </a:r>
          </a:p>
        </p:txBody>
      </p:sp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6736CFC0-A6A1-408C-90D0-5F3C3EDABEFD}"/>
              </a:ext>
            </a:extLst>
          </p:cNvPr>
          <p:cNvGrpSpPr/>
          <p:nvPr userDrawn="1"/>
        </p:nvGrpSpPr>
        <p:grpSpPr>
          <a:xfrm>
            <a:off x="103693" y="196674"/>
            <a:ext cx="9657896" cy="721514"/>
            <a:chOff x="111919" y="216797"/>
            <a:chExt cx="10424028" cy="795336"/>
          </a:xfrm>
        </p:grpSpPr>
        <p:pic>
          <p:nvPicPr>
            <p:cNvPr id="15" name="Picture 11" descr="ç°å¢ç">
              <a:extLst>
                <a:ext uri="{FF2B5EF4-FFF2-40B4-BE49-F238E27FC236}">
                  <a16:creationId xmlns:a16="http://schemas.microsoft.com/office/drawing/2014/main" id="{2BF78C1F-895C-47B9-BFD6-D818DFB88518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6006" y="300775"/>
              <a:ext cx="579941" cy="5599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4B2D3E9F-0217-41CA-A745-B0B8FBABC2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925" y="284266"/>
              <a:ext cx="10274355" cy="648000"/>
            </a:xfrm>
            <a:custGeom>
              <a:avLst/>
              <a:gdLst>
                <a:gd name="T0" fmla="*/ 38 w 1868"/>
                <a:gd name="T1" fmla="*/ 118 h 118"/>
                <a:gd name="T2" fmla="*/ 48 w 1868"/>
                <a:gd name="T3" fmla="*/ 118 h 118"/>
                <a:gd name="T4" fmla="*/ 155 w 1868"/>
                <a:gd name="T5" fmla="*/ 118 h 118"/>
                <a:gd name="T6" fmla="*/ 1811 w 1868"/>
                <a:gd name="T7" fmla="*/ 118 h 118"/>
                <a:gd name="T8" fmla="*/ 1694 w 1868"/>
                <a:gd name="T9" fmla="*/ 0 h 118"/>
                <a:gd name="T10" fmla="*/ 12 w 1868"/>
                <a:gd name="T11" fmla="*/ 0 h 118"/>
                <a:gd name="T12" fmla="*/ 12 w 1868"/>
                <a:gd name="T13" fmla="*/ 0 h 118"/>
                <a:gd name="T14" fmla="*/ 3 w 1868"/>
                <a:gd name="T15" fmla="*/ 3 h 118"/>
                <a:gd name="T16" fmla="*/ 0 w 1868"/>
                <a:gd name="T17" fmla="*/ 9 h 118"/>
                <a:gd name="T18" fmla="*/ 0 w 1868"/>
                <a:gd name="T19" fmla="*/ 82 h 118"/>
                <a:gd name="T20" fmla="*/ 38 w 1868"/>
                <a:gd name="T21" fmla="*/ 118 h 118"/>
                <a:gd name="T22" fmla="*/ 38 w 1868"/>
                <a:gd name="T23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68" h="118">
                  <a:moveTo>
                    <a:pt x="38" y="118"/>
                  </a:moveTo>
                  <a:cubicBezTo>
                    <a:pt x="48" y="118"/>
                    <a:pt x="48" y="118"/>
                    <a:pt x="48" y="118"/>
                  </a:cubicBezTo>
                  <a:cubicBezTo>
                    <a:pt x="155" y="118"/>
                    <a:pt x="155" y="118"/>
                    <a:pt x="155" y="118"/>
                  </a:cubicBezTo>
                  <a:cubicBezTo>
                    <a:pt x="1868" y="118"/>
                    <a:pt x="1811" y="118"/>
                    <a:pt x="1811" y="118"/>
                  </a:cubicBezTo>
                  <a:cubicBezTo>
                    <a:pt x="1694" y="0"/>
                    <a:pt x="1694" y="0"/>
                    <a:pt x="1694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8" y="0"/>
                    <a:pt x="5" y="2"/>
                    <a:pt x="3" y="3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>
              <a:noFill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ja-JP" altLang="en-US" sz="1500"/>
            </a:p>
          </p:txBody>
        </p:sp>
        <p:sp>
          <p:nvSpPr>
            <p:cNvPr id="49" name="フリーフォーム: 図形 48">
              <a:extLst>
                <a:ext uri="{FF2B5EF4-FFF2-40B4-BE49-F238E27FC236}">
                  <a16:creationId xmlns:a16="http://schemas.microsoft.com/office/drawing/2014/main" id="{90B7366C-0173-451D-B260-B9E47C44ACBC}"/>
                </a:ext>
              </a:extLst>
            </p:cNvPr>
            <p:cNvSpPr/>
            <p:nvPr userDrawn="1"/>
          </p:nvSpPr>
          <p:spPr>
            <a:xfrm>
              <a:off x="161925" y="536266"/>
              <a:ext cx="9961283" cy="396000"/>
            </a:xfrm>
            <a:custGeom>
              <a:avLst/>
              <a:gdLst>
                <a:gd name="connsiteX0" fmla="*/ 0 w 9946927"/>
                <a:gd name="connsiteY0" fmla="*/ 0 h 396000"/>
                <a:gd name="connsiteX1" fmla="*/ 9554213 w 9946927"/>
                <a:gd name="connsiteY1" fmla="*/ 0 h 396000"/>
                <a:gd name="connsiteX2" fmla="*/ 9575411 w 9946927"/>
                <a:gd name="connsiteY2" fmla="*/ 21375 h 396000"/>
                <a:gd name="connsiteX3" fmla="*/ 9946927 w 9946927"/>
                <a:gd name="connsiteY3" fmla="*/ 396000 h 396000"/>
                <a:gd name="connsiteX4" fmla="*/ 9942003 w 9946927"/>
                <a:gd name="connsiteY4" fmla="*/ 396000 h 396000"/>
                <a:gd name="connsiteX5" fmla="*/ 9848834 w 9946927"/>
                <a:gd name="connsiteY5" fmla="*/ 396000 h 396000"/>
                <a:gd name="connsiteX6" fmla="*/ 9549825 w 9946927"/>
                <a:gd name="connsiteY6" fmla="*/ 396000 h 396000"/>
                <a:gd name="connsiteX7" fmla="*/ 8927381 w 9946927"/>
                <a:gd name="connsiteY7" fmla="*/ 396000 h 396000"/>
                <a:gd name="connsiteX8" fmla="*/ 8458122 w 9946927"/>
                <a:gd name="connsiteY8" fmla="*/ 396000 h 396000"/>
                <a:gd name="connsiteX9" fmla="*/ 7863906 w 9946927"/>
                <a:gd name="connsiteY9" fmla="*/ 396000 h 396000"/>
                <a:gd name="connsiteX10" fmla="*/ 7130032 w 9946927"/>
                <a:gd name="connsiteY10" fmla="*/ 396000 h 396000"/>
                <a:gd name="connsiteX11" fmla="*/ 6241804 w 9946927"/>
                <a:gd name="connsiteY11" fmla="*/ 396000 h 396000"/>
                <a:gd name="connsiteX12" fmla="*/ 5184519 w 9946927"/>
                <a:gd name="connsiteY12" fmla="*/ 396000 h 396000"/>
                <a:gd name="connsiteX13" fmla="*/ 3943480 w 9946927"/>
                <a:gd name="connsiteY13" fmla="*/ 396000 h 396000"/>
                <a:gd name="connsiteX14" fmla="*/ 2503986 w 9946927"/>
                <a:gd name="connsiteY14" fmla="*/ 396000 h 396000"/>
                <a:gd name="connsiteX15" fmla="*/ 851339 w 9946927"/>
                <a:gd name="connsiteY15" fmla="*/ 396000 h 396000"/>
                <a:gd name="connsiteX16" fmla="*/ 777876 w 9946927"/>
                <a:gd name="connsiteY16" fmla="*/ 396000 h 396000"/>
                <a:gd name="connsiteX17" fmla="*/ 603403 w 9946927"/>
                <a:gd name="connsiteY17" fmla="*/ 396000 h 396000"/>
                <a:gd name="connsiteX18" fmla="*/ 263640 w 9946927"/>
                <a:gd name="connsiteY18" fmla="*/ 396000 h 396000"/>
                <a:gd name="connsiteX19" fmla="*/ 208715 w 9946927"/>
                <a:gd name="connsiteY19" fmla="*/ 396000 h 396000"/>
                <a:gd name="connsiteX20" fmla="*/ 0 w 9946927"/>
                <a:gd name="connsiteY20" fmla="*/ 198305 h 396000"/>
                <a:gd name="connsiteX21" fmla="*/ 0 w 9946927"/>
                <a:gd name="connsiteY21" fmla="*/ 29183 h 39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9946927" h="396000">
                  <a:moveTo>
                    <a:pt x="0" y="0"/>
                  </a:moveTo>
                  <a:lnTo>
                    <a:pt x="9554213" y="0"/>
                  </a:lnTo>
                  <a:lnTo>
                    <a:pt x="9575411" y="21375"/>
                  </a:lnTo>
                  <a:cubicBezTo>
                    <a:pt x="9665779" y="112500"/>
                    <a:pt x="9786271" y="234000"/>
                    <a:pt x="9946927" y="396000"/>
                  </a:cubicBezTo>
                  <a:lnTo>
                    <a:pt x="9942003" y="396000"/>
                  </a:lnTo>
                  <a:lnTo>
                    <a:pt x="9848834" y="396000"/>
                  </a:lnTo>
                  <a:lnTo>
                    <a:pt x="9549825" y="396000"/>
                  </a:lnTo>
                  <a:lnTo>
                    <a:pt x="8927381" y="396000"/>
                  </a:lnTo>
                  <a:lnTo>
                    <a:pt x="8458122" y="396000"/>
                  </a:lnTo>
                  <a:lnTo>
                    <a:pt x="7863906" y="396000"/>
                  </a:lnTo>
                  <a:lnTo>
                    <a:pt x="7130032" y="396000"/>
                  </a:lnTo>
                  <a:lnTo>
                    <a:pt x="6241804" y="396000"/>
                  </a:lnTo>
                  <a:lnTo>
                    <a:pt x="5184519" y="396000"/>
                  </a:lnTo>
                  <a:lnTo>
                    <a:pt x="3943480" y="396000"/>
                  </a:lnTo>
                  <a:lnTo>
                    <a:pt x="2503986" y="396000"/>
                  </a:lnTo>
                  <a:lnTo>
                    <a:pt x="851339" y="396000"/>
                  </a:lnTo>
                  <a:lnTo>
                    <a:pt x="777876" y="396000"/>
                  </a:lnTo>
                  <a:lnTo>
                    <a:pt x="603403" y="396000"/>
                  </a:lnTo>
                  <a:lnTo>
                    <a:pt x="263640" y="396000"/>
                  </a:lnTo>
                  <a:lnTo>
                    <a:pt x="208715" y="396000"/>
                  </a:lnTo>
                  <a:cubicBezTo>
                    <a:pt x="208715" y="396000"/>
                    <a:pt x="208715" y="396000"/>
                    <a:pt x="0" y="198305"/>
                  </a:cubicBezTo>
                  <a:cubicBezTo>
                    <a:pt x="0" y="198305"/>
                    <a:pt x="0" y="198305"/>
                    <a:pt x="0" y="2918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500"/>
            </a:p>
          </p:txBody>
        </p:sp>
        <p:cxnSp>
          <p:nvCxnSpPr>
            <p:cNvPr id="17" name="直線コネクタ 16">
              <a:extLst>
                <a:ext uri="{FF2B5EF4-FFF2-40B4-BE49-F238E27FC236}">
                  <a16:creationId xmlns:a16="http://schemas.microsoft.com/office/drawing/2014/main" id="{34DB3166-9AB5-43FB-8591-93246638EB0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08319" y="216797"/>
              <a:ext cx="786701" cy="77866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線コネクタ 17">
              <a:extLst>
                <a:ext uri="{FF2B5EF4-FFF2-40B4-BE49-F238E27FC236}">
                  <a16:creationId xmlns:a16="http://schemas.microsoft.com/office/drawing/2014/main" id="{D40C9C0E-769C-4D22-A484-B325C7ECE50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1919" y="681139"/>
              <a:ext cx="345281" cy="33099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タイトル 1">
            <a:extLst>
              <a:ext uri="{FF2B5EF4-FFF2-40B4-BE49-F238E27FC236}">
                <a16:creationId xmlns:a16="http://schemas.microsoft.com/office/drawing/2014/main" id="{ED4B86B0-3BB3-4009-9A6E-83BD54068242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white">
          <a:xfrm>
            <a:off x="150024" y="486491"/>
            <a:ext cx="8605363" cy="359244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2177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ページタイトル</a:t>
            </a:r>
          </a:p>
        </p:txBody>
      </p:sp>
      <p:sp>
        <p:nvSpPr>
          <p:cNvPr id="54" name="コンテンツ プレースホルダー 3">
            <a:extLst>
              <a:ext uri="{FF2B5EF4-FFF2-40B4-BE49-F238E27FC236}">
                <a16:creationId xmlns:a16="http://schemas.microsoft.com/office/drawing/2014/main" id="{F530AFF5-0F75-4301-B416-E2BDE7D4B1D3}"/>
              </a:ext>
            </a:extLst>
          </p:cNvPr>
          <p:cNvSpPr>
            <a:spLocks noGrp="1"/>
          </p:cNvSpPr>
          <p:nvPr userDrawn="1">
            <p:ph sz="quarter" idx="11" hasCustomPrompt="1"/>
          </p:nvPr>
        </p:nvSpPr>
        <p:spPr bwMode="white">
          <a:xfrm>
            <a:off x="150024" y="257881"/>
            <a:ext cx="8605363" cy="228610"/>
          </a:xfrm>
          <a:prstGeom prst="rect">
            <a:avLst/>
          </a:prstGeom>
        </p:spPr>
        <p:txBody>
          <a:bodyPr lIns="252000" tIns="0" rIns="0" bIns="0" anchor="ctr" anchorCtr="0"/>
          <a:lstStyle>
            <a:lvl1pPr algn="l">
              <a:defRPr sz="1270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第</a:t>
            </a:r>
            <a:r>
              <a:rPr kumimoji="1" lang="en-US" altLang="ja-JP"/>
              <a:t>2</a:t>
            </a:r>
            <a:r>
              <a:rPr kumimoji="1" lang="ja-JP" altLang="en-US"/>
              <a:t>階層（例：章タイトル）</a:t>
            </a:r>
          </a:p>
        </p:txBody>
      </p:sp>
      <p:sp>
        <p:nvSpPr>
          <p:cNvPr id="14" name="コンテンツ プレースホルダー 3">
            <a:extLst>
              <a:ext uri="{FF2B5EF4-FFF2-40B4-BE49-F238E27FC236}">
                <a16:creationId xmlns:a16="http://schemas.microsoft.com/office/drawing/2014/main" id="{BC87C82B-2847-473C-9A48-350F468EE55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1007807"/>
            <a:ext cx="9605952" cy="1351291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80000" tIns="180000" rIns="180000" bIns="144000">
            <a:spAutoFit/>
          </a:bodyPr>
          <a:lstStyle>
            <a:lvl1pPr marL="247711" indent="-247711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814"/>
            </a:lvl1pPr>
            <a:lvl2pPr marL="406131" indent="-158420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633"/>
            </a:lvl2pPr>
            <a:lvl3pPr marL="626479" indent="-211707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1452"/>
            </a:lvl3pPr>
            <a:lvl4pPr marL="820903" indent="-195864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defRPr sz="1089"/>
            </a:lvl4pPr>
            <a:lvl5pPr algn="l">
              <a:defRPr sz="1814"/>
            </a:lvl5pPr>
          </a:lstStyle>
          <a:p>
            <a:pPr lvl="0"/>
            <a:r>
              <a:rPr kumimoji="1" lang="ja-JP" altLang="en-US"/>
              <a:t>リード文（</a:t>
            </a:r>
            <a:r>
              <a:rPr kumimoji="1" lang="en-US" altLang="ja-JP"/>
              <a:t>Tab</a:t>
            </a:r>
            <a:r>
              <a:rPr kumimoji="1" lang="ja-JP" altLang="en-US"/>
              <a:t>キーで行頭文字を第</a:t>
            </a:r>
            <a:r>
              <a:rPr kumimoji="1" lang="en-US" altLang="ja-JP"/>
              <a:t>4</a:t>
            </a:r>
            <a:r>
              <a:rPr kumimoji="1" lang="ja-JP" altLang="en-US"/>
              <a:t>レベルまで選択できます）</a:t>
            </a:r>
          </a:p>
          <a:p>
            <a:pPr lvl="1"/>
            <a:r>
              <a:rPr kumimoji="1" lang="ja-JP" altLang="en-US"/>
              <a:t>第</a:t>
            </a:r>
            <a:r>
              <a:rPr kumimoji="1" lang="en-US" altLang="ja-JP"/>
              <a:t>2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</a:t>
            </a:r>
            <a:r>
              <a:rPr kumimoji="1" lang="en-US" altLang="ja-JP"/>
              <a:t>3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3"/>
            <a:r>
              <a:rPr kumimoji="1" lang="ja-JP" altLang="en-US"/>
              <a:t>第</a:t>
            </a:r>
            <a:r>
              <a:rPr kumimoji="1" lang="en-US" altLang="ja-JP"/>
              <a:t>4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40361319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シンプ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150024" y="172143"/>
            <a:ext cx="9005612" cy="293927"/>
          </a:xfrm>
          <a:prstGeom prst="rect">
            <a:avLst/>
          </a:prstGeom>
        </p:spPr>
        <p:txBody>
          <a:bodyPr lIns="72000" tIns="36000" rIns="0" bIns="0" anchor="ctr" anchorCtr="0"/>
          <a:lstStyle>
            <a:lvl1pPr algn="l">
              <a:defRPr sz="1633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ページタイトル</a:t>
            </a:r>
          </a:p>
        </p:txBody>
      </p:sp>
      <p:cxnSp>
        <p:nvCxnSpPr>
          <p:cNvPr id="13" name="直線コネクタ 12">
            <a:extLst>
              <a:ext uri="{FF2B5EF4-FFF2-40B4-BE49-F238E27FC236}">
                <a16:creationId xmlns:a16="http://schemas.microsoft.com/office/drawing/2014/main" id="{9C3C82BE-DD9A-46A4-A9AA-9E36F501B193}"/>
              </a:ext>
            </a:extLst>
          </p:cNvPr>
          <p:cNvCxnSpPr>
            <a:cxnSpLocks/>
          </p:cNvCxnSpPr>
          <p:nvPr userDrawn="1"/>
        </p:nvCxnSpPr>
        <p:spPr>
          <a:xfrm flipH="1">
            <a:off x="166204" y="456664"/>
            <a:ext cx="9572632" cy="9406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1" descr="ç°å¢ç">
            <a:extLst>
              <a:ext uri="{FF2B5EF4-FFF2-40B4-BE49-F238E27FC236}">
                <a16:creationId xmlns:a16="http://schemas.microsoft.com/office/drawing/2014/main" id="{0CF6094D-B943-4965-A2F6-67DD6FF3FF5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72" b="6659"/>
          <a:stretch/>
        </p:blipFill>
        <p:spPr bwMode="auto">
          <a:xfrm>
            <a:off x="9394400" y="137950"/>
            <a:ext cx="368692" cy="298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E84D1288-0306-4500-A9D7-D150B7340281}"/>
              </a:ext>
            </a:extLst>
          </p:cNvPr>
          <p:cNvSpPr txBox="1"/>
          <p:nvPr userDrawn="1"/>
        </p:nvSpPr>
        <p:spPr>
          <a:xfrm>
            <a:off x="9439042" y="6400781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177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452" b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8" name="コンテンツ プレースホルダー 3">
            <a:extLst>
              <a:ext uri="{FF2B5EF4-FFF2-40B4-BE49-F238E27FC236}">
                <a16:creationId xmlns:a16="http://schemas.microsoft.com/office/drawing/2014/main" id="{7FAF1969-C2E3-41AA-AA1A-27BBD721424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0024" y="531387"/>
            <a:ext cx="9605952" cy="1013258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lIns="144000" tIns="144000" rIns="144000" bIns="108000">
            <a:spAutoFit/>
          </a:bodyPr>
          <a:lstStyle>
            <a:lvl1pPr marL="173094" indent="-173094" algn="l">
              <a:lnSpc>
                <a:spcPct val="100000"/>
              </a:lnSpc>
              <a:spcBef>
                <a:spcPts val="544"/>
              </a:spcBef>
              <a:buFont typeface="Wingdings" panose="05000000000000000000" pitchFamily="2" charset="2"/>
              <a:buChar char="n"/>
              <a:defRPr sz="1270"/>
            </a:lvl1pPr>
            <a:lvl2pPr marL="273634" indent="-92172" algn="l">
              <a:lnSpc>
                <a:spcPct val="100000"/>
              </a:lnSpc>
              <a:spcBef>
                <a:spcPts val="363"/>
              </a:spcBef>
              <a:buFont typeface="Arial" panose="020B0604020202020204" pitchFamily="34" charset="0"/>
              <a:buChar char="•"/>
              <a:defRPr sz="1089"/>
            </a:lvl2pPr>
            <a:lvl3pPr marL="446456" indent="-164181" algn="l">
              <a:lnSpc>
                <a:spcPct val="100000"/>
              </a:lnSpc>
              <a:spcBef>
                <a:spcPts val="181"/>
              </a:spcBef>
              <a:buFont typeface="Wingdings" panose="05000000000000000000" pitchFamily="2" charset="2"/>
              <a:buChar char="ü"/>
              <a:defRPr sz="998"/>
            </a:lvl3pPr>
            <a:lvl4pPr marL="601995" indent="-149779" algn="l">
              <a:lnSpc>
                <a:spcPct val="100000"/>
              </a:lnSpc>
              <a:spcBef>
                <a:spcPts val="181"/>
              </a:spcBef>
              <a:buFont typeface="Meiryo UI" panose="020B0604030504040204" pitchFamily="50" charset="-128"/>
              <a:buChar char="※"/>
              <a:tabLst>
                <a:tab pos="443575" algn="l"/>
              </a:tabLst>
              <a:defRPr sz="907"/>
            </a:lvl4pPr>
            <a:lvl5pPr algn="l">
              <a:defRPr sz="1814"/>
            </a:lvl5pPr>
          </a:lstStyle>
          <a:p>
            <a:pPr lvl="0"/>
            <a:r>
              <a:rPr kumimoji="1" lang="ja-JP" altLang="en-US"/>
              <a:t>リード文レベルあり（</a:t>
            </a:r>
            <a:r>
              <a:rPr kumimoji="1" lang="en-US" altLang="ja-JP"/>
              <a:t>Tab</a:t>
            </a:r>
            <a:r>
              <a:rPr kumimoji="1" lang="ja-JP" altLang="en-US"/>
              <a:t>キーで第</a:t>
            </a:r>
            <a:r>
              <a:rPr kumimoji="1" lang="en-US" altLang="ja-JP"/>
              <a:t>4</a:t>
            </a:r>
            <a:r>
              <a:rPr kumimoji="1" lang="ja-JP" altLang="en-US"/>
              <a:t>レベルまで選べます）</a:t>
            </a:r>
          </a:p>
          <a:p>
            <a:pPr lvl="1"/>
            <a:r>
              <a:rPr kumimoji="1" lang="ja-JP" altLang="en-US"/>
              <a:t>第</a:t>
            </a:r>
            <a:r>
              <a:rPr kumimoji="1" lang="en-US" altLang="ja-JP"/>
              <a:t>2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</a:t>
            </a:r>
            <a:r>
              <a:rPr kumimoji="1" lang="en-US" altLang="ja-JP"/>
              <a:t>3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3"/>
            <a:r>
              <a:rPr kumimoji="1" lang="ja-JP" altLang="en-US"/>
              <a:t>第</a:t>
            </a:r>
            <a:r>
              <a:rPr kumimoji="1" lang="en-US" altLang="ja-JP"/>
              <a:t>4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33712129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予算ポンチ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0024" y="172143"/>
            <a:ext cx="8905550" cy="293927"/>
          </a:xfrm>
          <a:prstGeom prst="rect">
            <a:avLst/>
          </a:prstGeom>
        </p:spPr>
        <p:txBody>
          <a:bodyPr lIns="72000" tIns="36000" rIns="0" bIns="0" anchor="ctr" anchorCtr="0"/>
          <a:lstStyle>
            <a:lvl1pPr algn="l">
              <a:defRPr sz="1633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事業名を記入（○○省連携事業）</a:t>
            </a:r>
          </a:p>
        </p:txBody>
      </p:sp>
      <p:pic>
        <p:nvPicPr>
          <p:cNvPr id="11" name="グラフィックス 4">
            <a:extLst>
              <a:ext uri="{FF2B5EF4-FFF2-40B4-BE49-F238E27FC236}">
                <a16:creationId xmlns:a16="http://schemas.microsoft.com/office/drawing/2014/main" id="{3A88E330-170F-4EB6-B0EE-6B45EEBC0B9C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0024" y="6368678"/>
            <a:ext cx="9605952" cy="326585"/>
          </a:xfrm>
          <a:prstGeom prst="rect">
            <a:avLst/>
          </a:prstGeom>
          <a:ln>
            <a:noFill/>
          </a:ln>
        </p:spPr>
      </p:pic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94A05131-CD38-4DAA-A727-2378740DE858}"/>
              </a:ext>
            </a:extLst>
          </p:cNvPr>
          <p:cNvSpPr txBox="1"/>
          <p:nvPr userDrawn="1"/>
        </p:nvSpPr>
        <p:spPr bwMode="white">
          <a:xfrm>
            <a:off x="157884" y="6368678"/>
            <a:ext cx="1078684" cy="326585"/>
          </a:xfrm>
          <a:prstGeom prst="rect">
            <a:avLst/>
          </a:prstGeom>
          <a:noFill/>
        </p:spPr>
        <p:txBody>
          <a:bodyPr wrap="square" lIns="97976" tIns="0" rIns="0" bIns="0" rtlCol="0" anchor="ctr">
            <a:noAutofit/>
          </a:bodyPr>
          <a:lstStyle/>
          <a:p>
            <a:r>
              <a:rPr lang="ja-JP" altLang="en-US" sz="1089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お問合せ先：</a:t>
            </a: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2BD77E91-C9FE-4338-9D09-008455B00AB5}"/>
              </a:ext>
            </a:extLst>
          </p:cNvPr>
          <p:cNvSpPr txBox="1"/>
          <p:nvPr userDrawn="1"/>
        </p:nvSpPr>
        <p:spPr>
          <a:xfrm>
            <a:off x="147475" y="2173436"/>
            <a:ext cx="5021847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r>
              <a:rPr lang="en-US" altLang="ja-JP"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. </a:t>
            </a:r>
            <a:r>
              <a:rPr lang="ja-JP" altLang="en-US"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内容</a:t>
            </a:r>
          </a:p>
        </p:txBody>
      </p:sp>
      <p:sp>
        <p:nvSpPr>
          <p:cNvPr id="17" name="テキスト プレースホルダー 37">
            <a:extLst>
              <a:ext uri="{FF2B5EF4-FFF2-40B4-BE49-F238E27FC236}">
                <a16:creationId xmlns:a16="http://schemas.microsoft.com/office/drawing/2014/main" id="{B025C42B-6C2E-46D5-B3BF-74CB50E224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23832" y="5458321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赤色の吹出しに示した選択肢の中から選択して記載</a:t>
            </a:r>
            <a:endParaRPr kumimoji="1" lang="en-US" altLang="ja-JP"/>
          </a:p>
        </p:txBody>
      </p:sp>
      <p:sp>
        <p:nvSpPr>
          <p:cNvPr id="18" name="テキスト プレースホルダー 37">
            <a:extLst>
              <a:ext uri="{FF2B5EF4-FFF2-40B4-BE49-F238E27FC236}">
                <a16:creationId xmlns:a16="http://schemas.microsoft.com/office/drawing/2014/main" id="{E3E103C1-FA4F-413B-B322-F7A71AB7D1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0025" y="2432672"/>
            <a:ext cx="5019297" cy="2576498"/>
          </a:xfrm>
        </p:spPr>
        <p:txBody>
          <a:bodyPr lIns="0" tIns="72000" rIns="0" bIns="0" anchor="t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事業内容を説明</a:t>
            </a:r>
            <a:endParaRPr kumimoji="1" lang="en-US" altLang="ja-JP"/>
          </a:p>
        </p:txBody>
      </p:sp>
      <p:sp>
        <p:nvSpPr>
          <p:cNvPr id="19" name="テキスト プレースホルダー 37">
            <a:extLst>
              <a:ext uri="{FF2B5EF4-FFF2-40B4-BE49-F238E27FC236}">
                <a16:creationId xmlns:a16="http://schemas.microsoft.com/office/drawing/2014/main" id="{6F2F8E83-D6AE-4DFB-A6DE-B46846AD1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5099" y="1236259"/>
            <a:ext cx="8538654" cy="653171"/>
          </a:xfrm>
        </p:spPr>
        <p:txBody>
          <a:bodyPr lIns="108000" tIns="36000" rIns="0" bIns="0" anchor="t" anchorCtr="0">
            <a:noAutofit/>
          </a:bodyPr>
          <a:lstStyle>
            <a:lvl1pPr marL="223832" indent="-223832" algn="l">
              <a:lnSpc>
                <a:spcPct val="120000"/>
              </a:lnSpc>
              <a:spcBef>
                <a:spcPts val="0"/>
              </a:spcBef>
              <a:buFont typeface="+mj-ea"/>
              <a:buAutoNum type="circleNumDbPlain"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事業の目的を箇条書きで記載。</a:t>
            </a:r>
            <a:endParaRPr kumimoji="1" lang="en-US" altLang="ja-JP"/>
          </a:p>
          <a:p>
            <a:pPr lvl="0"/>
            <a:r>
              <a:rPr kumimoji="1" lang="ja-JP" altLang="en-US"/>
              <a:t>　</a:t>
            </a:r>
            <a:endParaRPr kumimoji="1" lang="en-US" altLang="ja-JP"/>
          </a:p>
          <a:p>
            <a:pPr lvl="0"/>
            <a:r>
              <a:rPr kumimoji="1" lang="ja-JP" altLang="en-US"/>
              <a:t>　</a:t>
            </a:r>
          </a:p>
          <a:p>
            <a:pPr lvl="0"/>
            <a:endParaRPr kumimoji="1" lang="en-US" altLang="ja-JP"/>
          </a:p>
        </p:txBody>
      </p:sp>
      <p:cxnSp>
        <p:nvCxnSpPr>
          <p:cNvPr id="20" name="直線コネクタ 19">
            <a:extLst>
              <a:ext uri="{FF2B5EF4-FFF2-40B4-BE49-F238E27FC236}">
                <a16:creationId xmlns:a16="http://schemas.microsoft.com/office/drawing/2014/main" id="{575E979F-E9D2-4856-B687-9C1FF17E73ED}"/>
              </a:ext>
            </a:extLst>
          </p:cNvPr>
          <p:cNvCxnSpPr/>
          <p:nvPr userDrawn="1"/>
        </p:nvCxnSpPr>
        <p:spPr>
          <a:xfrm flipV="1">
            <a:off x="1205099" y="1236259"/>
            <a:ext cx="0" cy="653171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7EAAD990-8616-4EFB-8C8F-39F44D2719A7}"/>
              </a:ext>
            </a:extLst>
          </p:cNvPr>
          <p:cNvSpPr txBox="1"/>
          <p:nvPr userDrawn="1"/>
        </p:nvSpPr>
        <p:spPr>
          <a:xfrm>
            <a:off x="150025" y="1399552"/>
            <a:ext cx="1055075" cy="32658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en-US" altLang="ja-JP"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. </a:t>
            </a:r>
            <a:r>
              <a:rPr lang="ja-JP" altLang="en-US"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目的</a:t>
            </a:r>
          </a:p>
        </p:txBody>
      </p:sp>
      <p:sp>
        <p:nvSpPr>
          <p:cNvPr id="22" name="テキスト プレースホルダー 36">
            <a:extLst>
              <a:ext uri="{FF2B5EF4-FFF2-40B4-BE49-F238E27FC236}">
                <a16:creationId xmlns:a16="http://schemas.microsoft.com/office/drawing/2014/main" id="{6B374390-D51B-435B-BC83-E2B9C6EF2D8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white">
          <a:xfrm>
            <a:off x="1130426" y="6368678"/>
            <a:ext cx="8605363" cy="326585"/>
          </a:xfrm>
        </p:spPr>
        <p:txBody>
          <a:bodyPr lIns="0" tIns="18000" rIns="108000" bIns="0" anchor="ctr">
            <a:noAutofit/>
          </a:bodyPr>
          <a:lstStyle>
            <a:lvl1pPr marL="0" indent="0" algn="l">
              <a:buNone/>
              <a:defRPr sz="1089" b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問合せ先を記載</a:t>
            </a:r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3300BF32-8B86-43CF-9624-64796ABDAC3D}"/>
              </a:ext>
            </a:extLst>
          </p:cNvPr>
          <p:cNvSpPr txBox="1"/>
          <p:nvPr userDrawn="1"/>
        </p:nvSpPr>
        <p:spPr>
          <a:xfrm>
            <a:off x="404194" y="5458321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/>
            <a:r>
              <a:rPr lang="ja-JP" altLang="en-US"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事業形態：</a:t>
            </a:r>
          </a:p>
        </p:txBody>
      </p:sp>
      <p:sp>
        <p:nvSpPr>
          <p:cNvPr id="24" name="テキスト プレースホルダー 37">
            <a:extLst>
              <a:ext uri="{FF2B5EF4-FFF2-40B4-BE49-F238E27FC236}">
                <a16:creationId xmlns:a16="http://schemas.microsoft.com/office/drawing/2014/main" id="{31F24937-C017-44CE-9CF8-846D2BCE722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23832" y="5717548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橙色の吹出しに示した選択肢の中から選択して記載</a:t>
            </a:r>
          </a:p>
        </p:txBody>
      </p:sp>
      <p:sp>
        <p:nvSpPr>
          <p:cNvPr id="25" name="テキスト プレースホルダー 37">
            <a:extLst>
              <a:ext uri="{FF2B5EF4-FFF2-40B4-BE49-F238E27FC236}">
                <a16:creationId xmlns:a16="http://schemas.microsoft.com/office/drawing/2014/main" id="{ABBEB580-4D48-42D5-8B77-AE5AFC4BFD2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323832" y="5976775"/>
            <a:ext cx="4002494" cy="228610"/>
          </a:xfrm>
        </p:spPr>
        <p:txBody>
          <a:bodyPr lIns="0" tIns="0" rIns="0" bIns="0" anchor="ctr">
            <a:norm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令和２年度～令和○年度（予定）　と記載</a:t>
            </a: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0CA0E264-5881-41CB-8BC4-C831A2A4DFEB}"/>
              </a:ext>
            </a:extLst>
          </p:cNvPr>
          <p:cNvSpPr txBox="1"/>
          <p:nvPr userDrawn="1"/>
        </p:nvSpPr>
        <p:spPr>
          <a:xfrm>
            <a:off x="404194" y="5976775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/>
            <a:r>
              <a:rPr lang="ja-JP" altLang="en-US"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実施期間：</a:t>
            </a:r>
          </a:p>
        </p:txBody>
      </p:sp>
      <p:cxnSp>
        <p:nvCxnSpPr>
          <p:cNvPr id="27" name="直線コネクタ 26">
            <a:extLst>
              <a:ext uri="{FF2B5EF4-FFF2-40B4-BE49-F238E27FC236}">
                <a16:creationId xmlns:a16="http://schemas.microsoft.com/office/drawing/2014/main" id="{49DD02CD-CB82-437F-852D-57086C0391BD}"/>
              </a:ext>
            </a:extLst>
          </p:cNvPr>
          <p:cNvCxnSpPr>
            <a:cxnSpLocks/>
          </p:cNvCxnSpPr>
          <p:nvPr userDrawn="1"/>
        </p:nvCxnSpPr>
        <p:spPr>
          <a:xfrm flipH="1">
            <a:off x="147475" y="447259"/>
            <a:ext cx="9591361" cy="18811"/>
          </a:xfrm>
          <a:prstGeom prst="line">
            <a:avLst/>
          </a:prstGeom>
          <a:ln w="31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テキスト プレースホルダー 37">
            <a:extLst>
              <a:ext uri="{FF2B5EF4-FFF2-40B4-BE49-F238E27FC236}">
                <a16:creationId xmlns:a16="http://schemas.microsoft.com/office/drawing/2014/main" id="{8F4CACCF-DF59-40E0-8B22-3CC88D955CF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47474" y="447259"/>
            <a:ext cx="8938681" cy="293927"/>
          </a:xfrm>
        </p:spPr>
        <p:txBody>
          <a:bodyPr lIns="0" tIns="0" rIns="0" bIns="0" anchor="ctr" anchorCtr="0">
            <a:normAutofit/>
          </a:bodyPr>
          <a:lstStyle>
            <a:lvl1pPr marL="0" indent="0" algn="r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en-US" altLang="ja-JP"/>
              <a:t>【</a:t>
            </a:r>
            <a:r>
              <a:rPr kumimoji="1" lang="ja-JP" altLang="en-US"/>
              <a:t>令和２年度要求額 </a:t>
            </a:r>
            <a:r>
              <a:rPr kumimoji="1" lang="en-US" altLang="ja-JP"/>
              <a:t>0,000</a:t>
            </a:r>
            <a:r>
              <a:rPr kumimoji="1" lang="ja-JP" altLang="en-US"/>
              <a:t>百万円（</a:t>
            </a:r>
            <a:r>
              <a:rPr kumimoji="1" lang="en-US" altLang="ja-JP"/>
              <a:t>0,000</a:t>
            </a:r>
            <a:r>
              <a:rPr kumimoji="1" lang="ja-JP" altLang="en-US"/>
              <a:t>百万円）</a:t>
            </a:r>
            <a:r>
              <a:rPr kumimoji="1" lang="en-US" altLang="ja-JP"/>
              <a:t>】</a:t>
            </a:r>
          </a:p>
        </p:txBody>
      </p:sp>
      <p:cxnSp>
        <p:nvCxnSpPr>
          <p:cNvPr id="30" name="直線コネクタ 29">
            <a:extLst>
              <a:ext uri="{FF2B5EF4-FFF2-40B4-BE49-F238E27FC236}">
                <a16:creationId xmlns:a16="http://schemas.microsoft.com/office/drawing/2014/main" id="{EC97E369-E6B0-4356-818A-927158B52DA6}"/>
              </a:ext>
            </a:extLst>
          </p:cNvPr>
          <p:cNvCxnSpPr/>
          <p:nvPr userDrawn="1"/>
        </p:nvCxnSpPr>
        <p:spPr>
          <a:xfrm>
            <a:off x="150024" y="2432672"/>
            <a:ext cx="5003118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テキスト プレースホルダー 37">
            <a:extLst>
              <a:ext uri="{FF2B5EF4-FFF2-40B4-BE49-F238E27FC236}">
                <a16:creationId xmlns:a16="http://schemas.microsoft.com/office/drawing/2014/main" id="{05AEDB54-2F1F-4D55-B5C5-B02A1E6CADA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565613" y="2432672"/>
            <a:ext cx="4190362" cy="3755733"/>
          </a:xfrm>
        </p:spPr>
        <p:txBody>
          <a:bodyPr lIns="0" tIns="72000" rIns="0" bIns="0" anchor="t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図・写真等を交えつつ、このスペースに納まるよう記述</a:t>
            </a:r>
          </a:p>
        </p:txBody>
      </p:sp>
      <p:cxnSp>
        <p:nvCxnSpPr>
          <p:cNvPr id="33" name="直線コネクタ 32">
            <a:extLst>
              <a:ext uri="{FF2B5EF4-FFF2-40B4-BE49-F238E27FC236}">
                <a16:creationId xmlns:a16="http://schemas.microsoft.com/office/drawing/2014/main" id="{93ABC200-7A3B-4D6E-9A7A-DD056E784D0D}"/>
              </a:ext>
            </a:extLst>
          </p:cNvPr>
          <p:cNvCxnSpPr/>
          <p:nvPr userDrawn="1"/>
        </p:nvCxnSpPr>
        <p:spPr>
          <a:xfrm>
            <a:off x="5553357" y="2432672"/>
            <a:ext cx="4202619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9DABB4ED-B7E1-4C29-AC71-063748A973FB}"/>
              </a:ext>
            </a:extLst>
          </p:cNvPr>
          <p:cNvSpPr txBox="1"/>
          <p:nvPr userDrawn="1"/>
        </p:nvSpPr>
        <p:spPr>
          <a:xfrm>
            <a:off x="404193" y="5717548"/>
            <a:ext cx="900561" cy="22861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dist" defTabSz="162741">
              <a:tabLst/>
            </a:pPr>
            <a:r>
              <a:rPr lang="ja-JP" altLang="en-US" sz="1175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■　　　　　　：</a:t>
            </a: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B52C3A3B-D331-4FA9-B49C-4CE55D8902BF}"/>
              </a:ext>
            </a:extLst>
          </p:cNvPr>
          <p:cNvSpPr txBox="1"/>
          <p:nvPr userDrawn="1"/>
        </p:nvSpPr>
        <p:spPr>
          <a:xfrm>
            <a:off x="147475" y="5113933"/>
            <a:ext cx="5188618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r>
              <a:rPr lang="en-US" altLang="ja-JP"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3. </a:t>
            </a:r>
            <a:r>
              <a:rPr lang="ja-JP" altLang="en-US"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スキーム</a:t>
            </a:r>
          </a:p>
        </p:txBody>
      </p:sp>
      <p:cxnSp>
        <p:nvCxnSpPr>
          <p:cNvPr id="36" name="直線コネクタ 35">
            <a:extLst>
              <a:ext uri="{FF2B5EF4-FFF2-40B4-BE49-F238E27FC236}">
                <a16:creationId xmlns:a16="http://schemas.microsoft.com/office/drawing/2014/main" id="{E1BEDD27-520F-4457-AAA7-263233F32CAB}"/>
              </a:ext>
            </a:extLst>
          </p:cNvPr>
          <p:cNvCxnSpPr/>
          <p:nvPr userDrawn="1"/>
        </p:nvCxnSpPr>
        <p:spPr>
          <a:xfrm>
            <a:off x="166204" y="5375201"/>
            <a:ext cx="5169888" cy="0"/>
          </a:xfrm>
          <a:prstGeom prst="line">
            <a:avLst/>
          </a:prstGeom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" name="グラフィックス 4">
            <a:extLst>
              <a:ext uri="{FF2B5EF4-FFF2-40B4-BE49-F238E27FC236}">
                <a16:creationId xmlns:a16="http://schemas.microsoft.com/office/drawing/2014/main" id="{716B933F-57EE-4D45-A154-8C5C4C4E1984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0024" y="808024"/>
            <a:ext cx="9605950" cy="326585"/>
          </a:xfrm>
          <a:prstGeom prst="rect">
            <a:avLst/>
          </a:prstGeom>
          <a:ln>
            <a:noFill/>
          </a:ln>
        </p:spPr>
      </p:pic>
      <p:sp>
        <p:nvSpPr>
          <p:cNvPr id="38" name="テキスト プレースホルダー 36">
            <a:extLst>
              <a:ext uri="{FF2B5EF4-FFF2-40B4-BE49-F238E27FC236}">
                <a16:creationId xmlns:a16="http://schemas.microsoft.com/office/drawing/2014/main" id="{5A2EDDF3-3029-44F5-ADC4-AAC9B3CDA9B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0024" y="808023"/>
            <a:ext cx="9588810" cy="326585"/>
          </a:xfrm>
        </p:spPr>
        <p:txBody>
          <a:bodyPr lIns="108000" tIns="36000" rIns="108000" bIns="0" anchor="ctr">
            <a:noAutofit/>
          </a:bodyPr>
          <a:lstStyle>
            <a:lvl1pPr marL="0" indent="0" algn="l">
              <a:buNone/>
              <a:defRPr sz="1270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事業のポイントを簡潔に記載</a:t>
            </a:r>
          </a:p>
        </p:txBody>
      </p:sp>
      <p:pic>
        <p:nvPicPr>
          <p:cNvPr id="8" name="Picture 11" descr="ç°å¢ç">
            <a:extLst>
              <a:ext uri="{FF2B5EF4-FFF2-40B4-BE49-F238E27FC236}">
                <a16:creationId xmlns:a16="http://schemas.microsoft.com/office/drawing/2014/main" id="{E4524634-FD36-4E22-9D09-12B514CD191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6154" y="132843"/>
            <a:ext cx="672372" cy="674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テキスト プレースホルダー 36">
            <a:extLst>
              <a:ext uri="{FF2B5EF4-FFF2-40B4-BE49-F238E27FC236}">
                <a16:creationId xmlns:a16="http://schemas.microsoft.com/office/drawing/2014/main" id="{9B97E414-CE64-463C-8703-5E74B265F9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99093" y="2173436"/>
            <a:ext cx="3935786" cy="261268"/>
          </a:xfrm>
        </p:spPr>
        <p:txBody>
          <a:bodyPr lIns="0" tIns="0" rIns="0" bIns="72000" anchor="b" anchorCtr="0">
            <a:normAutofit/>
          </a:bodyPr>
          <a:lstStyle>
            <a:lvl1pPr marL="0" indent="0" algn="l">
              <a:buNone/>
              <a:defRPr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defRPr>
            </a:lvl1pPr>
          </a:lstStyle>
          <a:p>
            <a:pPr lvl="0"/>
            <a:r>
              <a:rPr kumimoji="1" lang="ja-JP" altLang="en-US"/>
              <a:t>補助対象、支援対象の例、事業イメージ </a:t>
            </a:r>
            <a:r>
              <a:rPr kumimoji="1" lang="en-US" altLang="ja-JP"/>
              <a:t>etc.</a:t>
            </a:r>
            <a:endParaRPr kumimoji="1" lang="ja-JP" altLang="en-US"/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44AB8DD7-62C0-4DA8-85A3-8FFC2554F26A}"/>
              </a:ext>
            </a:extLst>
          </p:cNvPr>
          <p:cNvSpPr txBox="1"/>
          <p:nvPr userDrawn="1"/>
        </p:nvSpPr>
        <p:spPr>
          <a:xfrm>
            <a:off x="5565614" y="2173436"/>
            <a:ext cx="4169265" cy="261268"/>
          </a:xfrm>
          <a:prstGeom prst="rect">
            <a:avLst/>
          </a:prstGeom>
          <a:noFill/>
        </p:spPr>
        <p:txBody>
          <a:bodyPr wrap="square" lIns="0" tIns="0" bIns="65317" rtlCol="0" anchor="b" anchorCtr="0">
            <a:noAutofit/>
          </a:bodyPr>
          <a:lstStyle/>
          <a:p>
            <a:pPr algn="l"/>
            <a:r>
              <a:rPr lang="en-US" altLang="ja-JP" sz="1371" b="1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4. </a:t>
            </a:r>
          </a:p>
        </p:txBody>
      </p:sp>
      <p:sp>
        <p:nvSpPr>
          <p:cNvPr id="31" name="テキスト プレースホルダー 37">
            <a:extLst>
              <a:ext uri="{FF2B5EF4-FFF2-40B4-BE49-F238E27FC236}">
                <a16:creationId xmlns:a16="http://schemas.microsoft.com/office/drawing/2014/main" id="{8DAEC8DB-209D-4346-BBA0-580F33B624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69264" y="5717548"/>
            <a:ext cx="633728" cy="228610"/>
          </a:xfr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089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選　　　 択</a:t>
            </a:r>
            <a:endParaRPr kumimoji="1" lang="en-US" altLang="ja-JP"/>
          </a:p>
        </p:txBody>
      </p:sp>
    </p:spTree>
    <p:extLst>
      <p:ext uri="{BB962C8B-B14F-4D97-AF65-F5344CB8AC3E}">
        <p14:creationId xmlns:p14="http://schemas.microsoft.com/office/powerpoint/2010/main" val="21404071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四角形: 角を丸くする 6">
            <a:extLst>
              <a:ext uri="{FF2B5EF4-FFF2-40B4-BE49-F238E27FC236}">
                <a16:creationId xmlns:a16="http://schemas.microsoft.com/office/drawing/2014/main" id="{C4F33A39-73E7-49E0-BF4C-2CE0E2DB7091}"/>
              </a:ext>
            </a:extLst>
          </p:cNvPr>
          <p:cNvSpPr/>
          <p:nvPr userDrawn="1"/>
        </p:nvSpPr>
        <p:spPr>
          <a:xfrm>
            <a:off x="366808" y="359096"/>
            <a:ext cx="9172383" cy="6139807"/>
          </a:xfrm>
          <a:prstGeom prst="roundRect">
            <a:avLst>
              <a:gd name="adj" fmla="val 1501"/>
            </a:avLst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953" tIns="41476" rIns="82953" bIns="4147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452">
              <a:solidFill>
                <a:schemeClr val="tx1"/>
              </a:solidFill>
            </a:endParaRP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763CBD03-2A6D-45D7-9768-1358FBBD1C8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4892" y="3120324"/>
            <a:ext cx="1796216" cy="61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534341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通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353FE00A-A374-4293-8C01-F22FC8857B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150024" y="257881"/>
            <a:ext cx="8605363" cy="587854"/>
          </a:xfrm>
          <a:prstGeom prst="rect">
            <a:avLst/>
          </a:prstGeom>
        </p:spPr>
        <p:txBody>
          <a:bodyPr lIns="252000" tIns="36000" rIns="0" bIns="0" anchor="ctr" anchorCtr="0"/>
          <a:lstStyle>
            <a:lvl1pPr algn="l">
              <a:defRPr sz="2540" b="1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/>
              <a:t>ページタイトル</a:t>
            </a:r>
          </a:p>
        </p:txBody>
      </p:sp>
      <p:sp>
        <p:nvSpPr>
          <p:cNvPr id="28" name="コンテンツ プレースホルダー 3">
            <a:extLst>
              <a:ext uri="{FF2B5EF4-FFF2-40B4-BE49-F238E27FC236}">
                <a16:creationId xmlns:a16="http://schemas.microsoft.com/office/drawing/2014/main" id="{217043BF-6B11-4540-B78A-D1AECDE4B04F}"/>
              </a:ext>
            </a:extLst>
          </p:cNvPr>
          <p:cNvSpPr>
            <a:spLocks noGrp="1"/>
          </p:cNvSpPr>
          <p:nvPr userDrawn="1">
            <p:ph sz="quarter" idx="12" hasCustomPrompt="1"/>
          </p:nvPr>
        </p:nvSpPr>
        <p:spPr>
          <a:xfrm>
            <a:off x="150024" y="1007807"/>
            <a:ext cx="9605952" cy="606343"/>
          </a:xfrm>
          <a:prstGeom prst="rect">
            <a:avLst/>
          </a:prstGeom>
          <a:ln w="19050">
            <a:solidFill>
              <a:schemeClr val="tx2"/>
            </a:solidFill>
          </a:ln>
        </p:spPr>
        <p:txBody>
          <a:bodyPr wrap="square" lIns="180000" tIns="180000" rIns="180000" bIns="144000" anchor="t" anchorCtr="0">
            <a:spAutoFit/>
          </a:bodyPr>
          <a:lstStyle>
            <a:lvl1pPr marL="259232" indent="-259232" algn="l">
              <a:lnSpc>
                <a:spcPct val="100000"/>
              </a:lnSpc>
              <a:spcBef>
                <a:spcPts val="544"/>
              </a:spcBef>
              <a:spcAft>
                <a:spcPts val="0"/>
              </a:spcAft>
              <a:buFont typeface="Wingdings" panose="05000000000000000000" pitchFamily="2" charset="2"/>
              <a:buChar char="n"/>
              <a:defRPr sz="1814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/>
              <a:t>リードリードリードリードリードリードリードリードリードリードリードリードリードリードリードリードリードリード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7520773C-E087-4FC7-A90E-8421A85140B2}"/>
              </a:ext>
            </a:extLst>
          </p:cNvPr>
          <p:cNvSpPr txBox="1"/>
          <p:nvPr userDrawn="1"/>
        </p:nvSpPr>
        <p:spPr>
          <a:xfrm>
            <a:off x="9422435" y="6368678"/>
            <a:ext cx="333541" cy="326585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algn="ctr"/>
            <a:fld id="{9C1B02FA-3B43-4965-97B5-C29D405C4738}" type="slidenum">
              <a:rPr kumimoji="1" lang="ja-JP" altLang="en-US" sz="2540" b="0" smtClean="0">
                <a:latin typeface="Arial" panose="020B0604020202020204" pitchFamily="34" charset="0"/>
                <a:ea typeface="メイリオ" panose="020B0604030504040204" pitchFamily="50" charset="-128"/>
                <a:cs typeface="Arial" panose="020B0604020202020204" pitchFamily="34" charset="0"/>
              </a:rPr>
              <a:pPr algn="ctr"/>
              <a:t>‹#›</a:t>
            </a:fld>
            <a:endParaRPr kumimoji="1" lang="ja-JP" altLang="en-US" sz="1633" b="0">
              <a:latin typeface="Arial" panose="020B0604020202020204" pitchFamily="34" charset="0"/>
              <a:ea typeface="メイリオ" panose="020B0604030504040204" pitchFamily="50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81012"/>
      </p:ext>
    </p:extLst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10" Target="../slideLayouts/slideLayout10.xml" Type="http://schemas.openxmlformats.org/officeDocument/2006/relationships/slideLayout"/><Relationship Id="rId11" Target="../theme/theme1.xml" Type="http://schemas.openxmlformats.org/officeDocument/2006/relationships/theme"/><Relationship Id="rId12" Target="../tags/tag2.xml" Type="http://schemas.openxmlformats.org/officeDocument/2006/relationships/tags"/><Relationship Id="rId13" Target="../embeddings/oleObject1.bin" Type="http://schemas.openxmlformats.org/officeDocument/2006/relationships/oleObject"/><Relationship Id="rId14" Target="../media/image1.emf" Type="http://schemas.openxmlformats.org/officeDocument/2006/relationships/image"/><Relationship Id="rId2" Target="../slideLayouts/slideLayout2.xml" Type="http://schemas.openxmlformats.org/officeDocument/2006/relationships/slideLayout"/><Relationship Id="rId3" Target="../slideLayouts/slideLayout3.xml" Type="http://schemas.openxmlformats.org/officeDocument/2006/relationships/slideLayout"/><Relationship Id="rId4" Target="../slideLayouts/slideLayout4.xml" Type="http://schemas.openxmlformats.org/officeDocument/2006/relationships/slideLayout"/><Relationship Id="rId5" Target="../slideLayouts/slideLayout5.xml" Type="http://schemas.openxmlformats.org/officeDocument/2006/relationships/slideLayout"/><Relationship Id="rId6" Target="../slideLayouts/slideLayout6.xml" Type="http://schemas.openxmlformats.org/officeDocument/2006/relationships/slideLayout"/><Relationship Id="rId7" Target="../slideLayouts/slideLayout7.xml" Type="http://schemas.openxmlformats.org/officeDocument/2006/relationships/slideLayout"/><Relationship Id="rId8" Target="../slideLayouts/slideLayout8.xml" Type="http://schemas.openxmlformats.org/officeDocument/2006/relationships/slideLayout"/><Relationship Id="rId9" Target="../slideLayouts/slideLayout9.xml" Type="http://schemas.openxmlformats.org/officeDocument/2006/relationships/slideLayout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" name="オブジェクト 124" hidden="1">
            <a:extLst>
              <a:ext uri="{FF2B5EF4-FFF2-40B4-BE49-F238E27FC236}">
                <a16:creationId xmlns:a16="http://schemas.microsoft.com/office/drawing/2014/main" id="{F422B468-7A8A-4E40-A361-9AFC8CD6CA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14183679"/>
              </p:ext>
            </p:extLst>
          </p:nvPr>
        </p:nvGraphicFramePr>
        <p:xfrm>
          <a:off x="1471" y="1440"/>
          <a:ext cx="1471" cy="144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6" progId="TCLayout.ActiveDocument.1">
                  <p:embed/>
                </p:oleObj>
              </mc:Choice>
              <mc:Fallback>
                <p:oleObj name="think-cell Slide" r:id="rId13" imgW="395" imgH="396" progId="TCLayout.ActiveDocument.1">
                  <p:embed/>
                  <p:pic>
                    <p:nvPicPr>
                      <p:cNvPr id="125" name="オブジェクト 124" hidden="1">
                        <a:extLst>
                          <a:ext uri="{FF2B5EF4-FFF2-40B4-BE49-F238E27FC236}">
                            <a16:creationId xmlns:a16="http://schemas.microsoft.com/office/drawing/2014/main" id="{F422B468-7A8A-4E40-A361-9AFC8CD6CA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1" y="1440"/>
                        <a:ext cx="1471" cy="144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3A91721A-3382-431C-8B68-27C1CFB9E62E}"/>
              </a:ext>
            </a:extLst>
          </p:cNvPr>
          <p:cNvGrpSpPr/>
          <p:nvPr userDrawn="1"/>
        </p:nvGrpSpPr>
        <p:grpSpPr>
          <a:xfrm>
            <a:off x="149883" y="945837"/>
            <a:ext cx="9606235" cy="5749427"/>
            <a:chOff x="177800" y="1042608"/>
            <a:chExt cx="10368269" cy="6337679"/>
          </a:xfrm>
        </p:grpSpPr>
        <p:grpSp>
          <p:nvGrpSpPr>
            <p:cNvPr id="3" name="グループ化 2">
              <a:extLst>
                <a:ext uri="{FF2B5EF4-FFF2-40B4-BE49-F238E27FC236}">
                  <a16:creationId xmlns:a16="http://schemas.microsoft.com/office/drawing/2014/main" id="{4BFD48F3-14B9-49AE-A1D1-DE5151258DCE}"/>
                </a:ext>
              </a:extLst>
            </p:cNvPr>
            <p:cNvGrpSpPr/>
            <p:nvPr userDrawn="1"/>
          </p:nvGrpSpPr>
          <p:grpSpPr>
            <a:xfrm>
              <a:off x="178075" y="1044950"/>
              <a:ext cx="10367994" cy="6335337"/>
              <a:chOff x="178074" y="1044950"/>
              <a:chExt cx="10656433" cy="6335337"/>
            </a:xfrm>
          </p:grpSpPr>
          <p:sp>
            <p:nvSpPr>
              <p:cNvPr id="78" name="Line 4">
                <a:extLst>
                  <a:ext uri="{FF2B5EF4-FFF2-40B4-BE49-F238E27FC236}">
                    <a16:creationId xmlns:a16="http://schemas.microsoft.com/office/drawing/2014/main" id="{D826A6A1-E7E4-43E8-8468-E8C860C51E1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092256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9" name="Line 4">
                <a:extLst>
                  <a:ext uri="{FF2B5EF4-FFF2-40B4-BE49-F238E27FC236}">
                    <a16:creationId xmlns:a16="http://schemas.microsoft.com/office/drawing/2014/main" id="{57F0DA1D-52D9-4F60-AFF6-8877566167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236256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0" name="Line 4">
                <a:extLst>
                  <a:ext uri="{FF2B5EF4-FFF2-40B4-BE49-F238E27FC236}">
                    <a16:creationId xmlns:a16="http://schemas.microsoft.com/office/drawing/2014/main" id="{9E980EDF-B6AB-4B0C-A980-49553611983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6615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1" name="Line 5">
                <a:extLst>
                  <a:ext uri="{FF2B5EF4-FFF2-40B4-BE49-F238E27FC236}">
                    <a16:creationId xmlns:a16="http://schemas.microsoft.com/office/drawing/2014/main" id="{36E35AEA-8BC5-4852-9481-7958B3061CC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5170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2" name="Line 6">
                <a:extLst>
                  <a:ext uri="{FF2B5EF4-FFF2-40B4-BE49-F238E27FC236}">
                    <a16:creationId xmlns:a16="http://schemas.microsoft.com/office/drawing/2014/main" id="{89C1479F-6CF5-403F-951E-D6CB9755730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3726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3" name="Line 7">
                <a:extLst>
                  <a:ext uri="{FF2B5EF4-FFF2-40B4-BE49-F238E27FC236}">
                    <a16:creationId xmlns:a16="http://schemas.microsoft.com/office/drawing/2014/main" id="{7E684421-FA46-4F76-8DF3-44167123B39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2281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4" name="Line 8">
                <a:extLst>
                  <a:ext uri="{FF2B5EF4-FFF2-40B4-BE49-F238E27FC236}">
                    <a16:creationId xmlns:a16="http://schemas.microsoft.com/office/drawing/2014/main" id="{6ECE2685-095C-45C9-838A-65818D7594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0852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5" name="Line 9">
                <a:extLst>
                  <a:ext uri="{FF2B5EF4-FFF2-40B4-BE49-F238E27FC236}">
                    <a16:creationId xmlns:a16="http://schemas.microsoft.com/office/drawing/2014/main" id="{600ED12E-8037-4439-94BD-A834CF65881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9408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6" name="Line 10">
                <a:extLst>
                  <a:ext uri="{FF2B5EF4-FFF2-40B4-BE49-F238E27FC236}">
                    <a16:creationId xmlns:a16="http://schemas.microsoft.com/office/drawing/2014/main" id="{C50928EE-EDF1-4552-888F-3CCE27F96C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7963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7" name="Line 11">
                <a:extLst>
                  <a:ext uri="{FF2B5EF4-FFF2-40B4-BE49-F238E27FC236}">
                    <a16:creationId xmlns:a16="http://schemas.microsoft.com/office/drawing/2014/main" id="{75B9DE1C-6ADC-4B10-B04B-57C8C991F37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65346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8" name="Line 12">
                <a:extLst>
                  <a:ext uri="{FF2B5EF4-FFF2-40B4-BE49-F238E27FC236}">
                    <a16:creationId xmlns:a16="http://schemas.microsoft.com/office/drawing/2014/main" id="{A23F7616-6766-47AB-B3EF-0B5FD415EF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5090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9" name="Line 13">
                <a:extLst>
                  <a:ext uri="{FF2B5EF4-FFF2-40B4-BE49-F238E27FC236}">
                    <a16:creationId xmlns:a16="http://schemas.microsoft.com/office/drawing/2014/main" id="{021D185C-1AAE-429B-8621-1099C04036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3645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0" name="Line 14">
                <a:extLst>
                  <a:ext uri="{FF2B5EF4-FFF2-40B4-BE49-F238E27FC236}">
                    <a16:creationId xmlns:a16="http://schemas.microsoft.com/office/drawing/2014/main" id="{09703D58-1DDF-4B6E-BE8C-D9DB7B26F44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2200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1" name="Line 15">
                <a:extLst>
                  <a:ext uri="{FF2B5EF4-FFF2-40B4-BE49-F238E27FC236}">
                    <a16:creationId xmlns:a16="http://schemas.microsoft.com/office/drawing/2014/main" id="{0A99046C-7D76-490A-88DE-41D62CAAB2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507720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2" name="Line 16">
                <a:extLst>
                  <a:ext uri="{FF2B5EF4-FFF2-40B4-BE49-F238E27FC236}">
                    <a16:creationId xmlns:a16="http://schemas.microsoft.com/office/drawing/2014/main" id="{59BBACC5-635F-4604-B162-146A153A24B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9327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3" name="Line 17">
                <a:extLst>
                  <a:ext uri="{FF2B5EF4-FFF2-40B4-BE49-F238E27FC236}">
                    <a16:creationId xmlns:a16="http://schemas.microsoft.com/office/drawing/2014/main" id="{9FB4A3F6-32A1-4976-8A08-D1DAD172D3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7882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4" name="Line 18">
                <a:extLst>
                  <a:ext uri="{FF2B5EF4-FFF2-40B4-BE49-F238E27FC236}">
                    <a16:creationId xmlns:a16="http://schemas.microsoft.com/office/drawing/2014/main" id="{908F9892-CF7B-484A-A087-A99993AE457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6438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5" name="Line 19">
                <a:extLst>
                  <a:ext uri="{FF2B5EF4-FFF2-40B4-BE49-F238E27FC236}">
                    <a16:creationId xmlns:a16="http://schemas.microsoft.com/office/drawing/2014/main" id="{8870D894-1D46-4193-A356-3B3B47BC911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50094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6" name="Line 20">
                <a:extLst>
                  <a:ext uri="{FF2B5EF4-FFF2-40B4-BE49-F238E27FC236}">
                    <a16:creationId xmlns:a16="http://schemas.microsoft.com/office/drawing/2014/main" id="{E62FE32C-C1AA-4D40-946C-A2C857DF1D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3564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7" name="Line 21">
                <a:extLst>
                  <a:ext uri="{FF2B5EF4-FFF2-40B4-BE49-F238E27FC236}">
                    <a16:creationId xmlns:a16="http://schemas.microsoft.com/office/drawing/2014/main" id="{A41DF6BE-EF66-4E04-9235-822F9538400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2120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8" name="Line 22">
                <a:extLst>
                  <a:ext uri="{FF2B5EF4-FFF2-40B4-BE49-F238E27FC236}">
                    <a16:creationId xmlns:a16="http://schemas.microsoft.com/office/drawing/2014/main" id="{04515879-DFE5-4F8A-B76C-705440CA75B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9246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9" name="Line 23">
                <a:extLst>
                  <a:ext uri="{FF2B5EF4-FFF2-40B4-BE49-F238E27FC236}">
                    <a16:creationId xmlns:a16="http://schemas.microsoft.com/office/drawing/2014/main" id="{0952AF1D-8248-4B31-B111-ACD4257CBB0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7802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0" name="Line 24">
                <a:extLst>
                  <a:ext uri="{FF2B5EF4-FFF2-40B4-BE49-F238E27FC236}">
                    <a16:creationId xmlns:a16="http://schemas.microsoft.com/office/drawing/2014/main" id="{5DF19807-4FC9-4DCA-8DBB-DA4B436820F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6357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1" name="Line 25">
                <a:extLst>
                  <a:ext uri="{FF2B5EF4-FFF2-40B4-BE49-F238E27FC236}">
                    <a16:creationId xmlns:a16="http://schemas.microsoft.com/office/drawing/2014/main" id="{3B491BFB-F3D6-4AE7-A3AB-529175A1FC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4928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2" name="Line 26">
                <a:extLst>
                  <a:ext uri="{FF2B5EF4-FFF2-40B4-BE49-F238E27FC236}">
                    <a16:creationId xmlns:a16="http://schemas.microsoft.com/office/drawing/2014/main" id="{F13ED150-3A1D-42A7-9E86-E99A6B5238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3484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3" name="Line 27">
                <a:extLst>
                  <a:ext uri="{FF2B5EF4-FFF2-40B4-BE49-F238E27FC236}">
                    <a16:creationId xmlns:a16="http://schemas.microsoft.com/office/drawing/2014/main" id="{EC8E0ABF-A65A-4B61-8B39-1DB126D7CE4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2039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4" name="Line 28">
                <a:extLst>
                  <a:ext uri="{FF2B5EF4-FFF2-40B4-BE49-F238E27FC236}">
                    <a16:creationId xmlns:a16="http://schemas.microsoft.com/office/drawing/2014/main" id="{5B0E93A0-803C-43D4-922B-174A4DD30E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306107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5" name="Line 29">
                <a:extLst>
                  <a:ext uri="{FF2B5EF4-FFF2-40B4-BE49-F238E27FC236}">
                    <a16:creationId xmlns:a16="http://schemas.microsoft.com/office/drawing/2014/main" id="{D3F014D9-1393-4D00-9A6D-9E0E19D15C5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9166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6" name="Line 30">
                <a:extLst>
                  <a:ext uri="{FF2B5EF4-FFF2-40B4-BE49-F238E27FC236}">
                    <a16:creationId xmlns:a16="http://schemas.microsoft.com/office/drawing/2014/main" id="{414030D1-E2E5-4E55-8024-2D453BC4802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7721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7" name="Line 31">
                <a:extLst>
                  <a:ext uri="{FF2B5EF4-FFF2-40B4-BE49-F238E27FC236}">
                    <a16:creationId xmlns:a16="http://schemas.microsoft.com/office/drawing/2014/main" id="{FDB3FA4B-DE95-483C-A755-22E878FB2E2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6276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8" name="Line 32">
                <a:extLst>
                  <a:ext uri="{FF2B5EF4-FFF2-40B4-BE49-F238E27FC236}">
                    <a16:creationId xmlns:a16="http://schemas.microsoft.com/office/drawing/2014/main" id="{35206945-08AE-4534-AE16-F2B17244D2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48481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9" name="Line 33">
                <a:extLst>
                  <a:ext uri="{FF2B5EF4-FFF2-40B4-BE49-F238E27FC236}">
                    <a16:creationId xmlns:a16="http://schemas.microsoft.com/office/drawing/2014/main" id="{27C86116-2335-4015-8AAC-D3331F92463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3403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0" name="Line 34">
                <a:extLst>
                  <a:ext uri="{FF2B5EF4-FFF2-40B4-BE49-F238E27FC236}">
                    <a16:creationId xmlns:a16="http://schemas.microsoft.com/office/drawing/2014/main" id="{3BF6F914-6E1F-4EB0-8F80-051002B517C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1958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1" name="Line 35">
                <a:extLst>
                  <a:ext uri="{FF2B5EF4-FFF2-40B4-BE49-F238E27FC236}">
                    <a16:creationId xmlns:a16="http://schemas.microsoft.com/office/drawing/2014/main" id="{04D2FA21-70F9-4DA5-A0FC-C0E92E3FE5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20514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2" name="Line 36">
                <a:extLst>
                  <a:ext uri="{FF2B5EF4-FFF2-40B4-BE49-F238E27FC236}">
                    <a16:creationId xmlns:a16="http://schemas.microsoft.com/office/drawing/2014/main" id="{F58D4FB5-90F3-4530-8AF9-1A1ED0B0362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9085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3" name="Line 37">
                <a:extLst>
                  <a:ext uri="{FF2B5EF4-FFF2-40B4-BE49-F238E27FC236}">
                    <a16:creationId xmlns:a16="http://schemas.microsoft.com/office/drawing/2014/main" id="{46EF435C-533B-4F36-A45C-DED4C9DA176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76409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4" name="Line 38">
                <a:extLst>
                  <a:ext uri="{FF2B5EF4-FFF2-40B4-BE49-F238E27FC236}">
                    <a16:creationId xmlns:a16="http://schemas.microsoft.com/office/drawing/2014/main" id="{7260D7FA-0243-4149-92F2-9A2E3D3D639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61962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5" name="Line 39">
                <a:extLst>
                  <a:ext uri="{FF2B5EF4-FFF2-40B4-BE49-F238E27FC236}">
                    <a16:creationId xmlns:a16="http://schemas.microsoft.com/office/drawing/2014/main" id="{E17B36A0-958F-443F-9FD7-D5530C92BC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476752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6" name="Line 102">
                <a:extLst>
                  <a:ext uri="{FF2B5EF4-FFF2-40B4-BE49-F238E27FC236}">
                    <a16:creationId xmlns:a16="http://schemas.microsoft.com/office/drawing/2014/main" id="{351063C8-67B1-4656-BE04-74F237AAE0D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4069139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7" name="Line 4">
                <a:extLst>
                  <a:ext uri="{FF2B5EF4-FFF2-40B4-BE49-F238E27FC236}">
                    <a16:creationId xmlns:a16="http://schemas.microsoft.com/office/drawing/2014/main" id="{A46FAAE6-29DC-4506-AD6F-E0CFB6E0E48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804864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8" name="Line 4">
                <a:extLst>
                  <a:ext uri="{FF2B5EF4-FFF2-40B4-BE49-F238E27FC236}">
                    <a16:creationId xmlns:a16="http://schemas.microsoft.com/office/drawing/2014/main" id="{BDB1BE34-748E-475F-92C8-62D418402AE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6948864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9" name="Line 39">
                <a:extLst>
                  <a:ext uri="{FF2B5EF4-FFF2-40B4-BE49-F238E27FC236}">
                    <a16:creationId xmlns:a16="http://schemas.microsoft.com/office/drawing/2014/main" id="{B8FC7F79-F5A5-4158-8740-748E3241FF8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332288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0" name="Line 4">
                <a:extLst>
                  <a:ext uri="{FF2B5EF4-FFF2-40B4-BE49-F238E27FC236}">
                    <a16:creationId xmlns:a16="http://schemas.microsoft.com/office/drawing/2014/main" id="{04F44B2B-BA78-4509-9C32-74EDCFF90D9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7380287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1" name="Line 34">
                <a:extLst>
                  <a:ext uri="{FF2B5EF4-FFF2-40B4-BE49-F238E27FC236}">
                    <a16:creationId xmlns:a16="http://schemas.microsoft.com/office/drawing/2014/main" id="{5E5B63E7-A874-41DF-80CD-384ECF0D0EC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332288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2" name="Line 35">
                <a:extLst>
                  <a:ext uri="{FF2B5EF4-FFF2-40B4-BE49-F238E27FC236}">
                    <a16:creationId xmlns:a16="http://schemas.microsoft.com/office/drawing/2014/main" id="{09956D0B-D2BD-494C-9E10-AC5791E6B9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187825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3" name="Line 36">
                <a:extLst>
                  <a:ext uri="{FF2B5EF4-FFF2-40B4-BE49-F238E27FC236}">
                    <a16:creationId xmlns:a16="http://schemas.microsoft.com/office/drawing/2014/main" id="{FDCF63A4-9AE6-42F3-B831-26054F80B9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8074" y="1044950"/>
                <a:ext cx="10656433" cy="0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</p:grpSp>
        <p:grpSp>
          <p:nvGrpSpPr>
            <p:cNvPr id="4" name="グループ化 3">
              <a:extLst>
                <a:ext uri="{FF2B5EF4-FFF2-40B4-BE49-F238E27FC236}">
                  <a16:creationId xmlns:a16="http://schemas.microsoft.com/office/drawing/2014/main" id="{7563BD28-1209-42D1-9D77-592742544D69}"/>
                </a:ext>
              </a:extLst>
            </p:cNvPr>
            <p:cNvGrpSpPr/>
            <p:nvPr userDrawn="1"/>
          </p:nvGrpSpPr>
          <p:grpSpPr>
            <a:xfrm>
              <a:off x="177800" y="1042608"/>
              <a:ext cx="10368268" cy="6337679"/>
              <a:chOff x="177800" y="613150"/>
              <a:chExt cx="10368268" cy="6767138"/>
            </a:xfrm>
          </p:grpSpPr>
          <p:sp>
            <p:nvSpPr>
              <p:cNvPr id="5" name="Line 41">
                <a:extLst>
                  <a:ext uri="{FF2B5EF4-FFF2-40B4-BE49-F238E27FC236}">
                    <a16:creationId xmlns:a16="http://schemas.microsoft.com/office/drawing/2014/main" id="{B3C22C89-D315-4DE2-A2CE-1772E352455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32972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" name="Line 42">
                <a:extLst>
                  <a:ext uri="{FF2B5EF4-FFF2-40B4-BE49-F238E27FC236}">
                    <a16:creationId xmlns:a16="http://schemas.microsoft.com/office/drawing/2014/main" id="{B6B37B61-127F-43BC-8980-FDDC4E2D488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47371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" name="Line 43">
                <a:extLst>
                  <a:ext uri="{FF2B5EF4-FFF2-40B4-BE49-F238E27FC236}">
                    <a16:creationId xmlns:a16="http://schemas.microsoft.com/office/drawing/2014/main" id="{814E20DB-764C-424E-81E2-70243941EA7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61771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8" name="Line 44">
                <a:extLst>
                  <a:ext uri="{FF2B5EF4-FFF2-40B4-BE49-F238E27FC236}">
                    <a16:creationId xmlns:a16="http://schemas.microsoft.com/office/drawing/2014/main" id="{FCABC8BD-5A98-49C6-B473-81F079E3515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6170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9" name="Line 45">
                <a:extLst>
                  <a:ext uri="{FF2B5EF4-FFF2-40B4-BE49-F238E27FC236}">
                    <a16:creationId xmlns:a16="http://schemas.microsoft.com/office/drawing/2014/main" id="{1A60A482-CAE7-4B32-B147-65B54D505B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90569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0" name="Line 46">
                <a:extLst>
                  <a:ext uri="{FF2B5EF4-FFF2-40B4-BE49-F238E27FC236}">
                    <a16:creationId xmlns:a16="http://schemas.microsoft.com/office/drawing/2014/main" id="{EFDE9D29-C267-4456-BF4C-3E31CC99600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04968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1" name="Line 47">
                <a:extLst>
                  <a:ext uri="{FF2B5EF4-FFF2-40B4-BE49-F238E27FC236}">
                    <a16:creationId xmlns:a16="http://schemas.microsoft.com/office/drawing/2014/main" id="{491A06B6-733C-4C7D-A019-438D4782E2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19367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2" name="Line 48">
                <a:extLst>
                  <a:ext uri="{FF2B5EF4-FFF2-40B4-BE49-F238E27FC236}">
                    <a16:creationId xmlns:a16="http://schemas.microsoft.com/office/drawing/2014/main" id="{1A2FF589-8AE7-4B04-A3CF-707EC50F0E4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33766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3" name="Line 49">
                <a:extLst>
                  <a:ext uri="{FF2B5EF4-FFF2-40B4-BE49-F238E27FC236}">
                    <a16:creationId xmlns:a16="http://schemas.microsoft.com/office/drawing/2014/main" id="{220BD835-09F7-42BC-8A59-760F67C3BA3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48165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4" name="Line 50">
                <a:extLst>
                  <a:ext uri="{FF2B5EF4-FFF2-40B4-BE49-F238E27FC236}">
                    <a16:creationId xmlns:a16="http://schemas.microsoft.com/office/drawing/2014/main" id="{80C9531A-D351-4FB0-810D-0B60B9AE5DA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62564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5" name="Line 51">
                <a:extLst>
                  <a:ext uri="{FF2B5EF4-FFF2-40B4-BE49-F238E27FC236}">
                    <a16:creationId xmlns:a16="http://schemas.microsoft.com/office/drawing/2014/main" id="{B8E8462B-F715-42E6-9C65-36FFE4337D4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76963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6" name="Line 52">
                <a:extLst>
                  <a:ext uri="{FF2B5EF4-FFF2-40B4-BE49-F238E27FC236}">
                    <a16:creationId xmlns:a16="http://schemas.microsoft.com/office/drawing/2014/main" id="{D8F1D8BF-9549-4DB4-8539-54E7306FE4B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291362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7" name="Line 53">
                <a:extLst>
                  <a:ext uri="{FF2B5EF4-FFF2-40B4-BE49-F238E27FC236}">
                    <a16:creationId xmlns:a16="http://schemas.microsoft.com/office/drawing/2014/main" id="{21A8334C-E16F-4C67-A640-48814127DE1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05762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8" name="Line 54">
                <a:extLst>
                  <a:ext uri="{FF2B5EF4-FFF2-40B4-BE49-F238E27FC236}">
                    <a16:creationId xmlns:a16="http://schemas.microsoft.com/office/drawing/2014/main" id="{87645081-3E3E-46BC-930C-6315E36C5EB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0161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19" name="Line 55">
                <a:extLst>
                  <a:ext uri="{FF2B5EF4-FFF2-40B4-BE49-F238E27FC236}">
                    <a16:creationId xmlns:a16="http://schemas.microsoft.com/office/drawing/2014/main" id="{A4BEC564-851D-4F58-80F1-6A0185EDAFE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34560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0" name="Line 56">
                <a:extLst>
                  <a:ext uri="{FF2B5EF4-FFF2-40B4-BE49-F238E27FC236}">
                    <a16:creationId xmlns:a16="http://schemas.microsoft.com/office/drawing/2014/main" id="{432A9BBC-9761-4CF7-8E8B-58C807DB482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48959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1" name="Line 57">
                <a:extLst>
                  <a:ext uri="{FF2B5EF4-FFF2-40B4-BE49-F238E27FC236}">
                    <a16:creationId xmlns:a16="http://schemas.microsoft.com/office/drawing/2014/main" id="{20A6B1C2-9D27-470D-A085-87FA71EAB4A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63358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2" name="Line 58">
                <a:extLst>
                  <a:ext uri="{FF2B5EF4-FFF2-40B4-BE49-F238E27FC236}">
                    <a16:creationId xmlns:a16="http://schemas.microsoft.com/office/drawing/2014/main" id="{F23207BF-AF0B-4F40-8B7A-C3F38848C90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77757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3" name="Line 59">
                <a:extLst>
                  <a:ext uri="{FF2B5EF4-FFF2-40B4-BE49-F238E27FC236}">
                    <a16:creationId xmlns:a16="http://schemas.microsoft.com/office/drawing/2014/main" id="{26C53B7A-6B78-45F3-81B8-0C4A985F93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92156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4" name="Line 60">
                <a:extLst>
                  <a:ext uri="{FF2B5EF4-FFF2-40B4-BE49-F238E27FC236}">
                    <a16:creationId xmlns:a16="http://schemas.microsoft.com/office/drawing/2014/main" id="{EFE47F1C-76D7-41CA-9659-2A5E4423D6B4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06555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5" name="Line 61">
                <a:extLst>
                  <a:ext uri="{FF2B5EF4-FFF2-40B4-BE49-F238E27FC236}">
                    <a16:creationId xmlns:a16="http://schemas.microsoft.com/office/drawing/2014/main" id="{64457307-026F-493B-ABF6-07B9423755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20954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6" name="Line 62">
                <a:extLst>
                  <a:ext uri="{FF2B5EF4-FFF2-40B4-BE49-F238E27FC236}">
                    <a16:creationId xmlns:a16="http://schemas.microsoft.com/office/drawing/2014/main" id="{030B4BD7-7599-44B1-8074-D5431EC3F5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35353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7" name="Line 63">
                <a:extLst>
                  <a:ext uri="{FF2B5EF4-FFF2-40B4-BE49-F238E27FC236}">
                    <a16:creationId xmlns:a16="http://schemas.microsoft.com/office/drawing/2014/main" id="{4595D81E-7D18-4885-B662-9E134883C21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49753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8" name="Line 64">
                <a:extLst>
                  <a:ext uri="{FF2B5EF4-FFF2-40B4-BE49-F238E27FC236}">
                    <a16:creationId xmlns:a16="http://schemas.microsoft.com/office/drawing/2014/main" id="{9D7EEAE3-EB7B-4CAB-8D29-74B01BF77DA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64152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29" name="Line 65">
                <a:extLst>
                  <a:ext uri="{FF2B5EF4-FFF2-40B4-BE49-F238E27FC236}">
                    <a16:creationId xmlns:a16="http://schemas.microsoft.com/office/drawing/2014/main" id="{0F246FB1-7AE4-4FC2-ADF0-AEC7C07561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78551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0" name="Line 66">
                <a:extLst>
                  <a:ext uri="{FF2B5EF4-FFF2-40B4-BE49-F238E27FC236}">
                    <a16:creationId xmlns:a16="http://schemas.microsoft.com/office/drawing/2014/main" id="{F57F2CE7-B513-47B5-9D3D-A274C47CC75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92950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1" name="Line 67">
                <a:extLst>
                  <a:ext uri="{FF2B5EF4-FFF2-40B4-BE49-F238E27FC236}">
                    <a16:creationId xmlns:a16="http://schemas.microsoft.com/office/drawing/2014/main" id="{9040D867-6020-46C6-8856-42B9EE18A29D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07349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2" name="Line 68">
                <a:extLst>
                  <a:ext uri="{FF2B5EF4-FFF2-40B4-BE49-F238E27FC236}">
                    <a16:creationId xmlns:a16="http://schemas.microsoft.com/office/drawing/2014/main" id="{F353CD92-5CA1-4C0F-8661-E074AB49129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21748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3" name="Line 69">
                <a:extLst>
                  <a:ext uri="{FF2B5EF4-FFF2-40B4-BE49-F238E27FC236}">
                    <a16:creationId xmlns:a16="http://schemas.microsoft.com/office/drawing/2014/main" id="{0D038A48-2468-4083-ABDA-2013B92143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36147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4" name="Line 70">
                <a:extLst>
                  <a:ext uri="{FF2B5EF4-FFF2-40B4-BE49-F238E27FC236}">
                    <a16:creationId xmlns:a16="http://schemas.microsoft.com/office/drawing/2014/main" id="{BAF64418-9CE6-467B-8BF0-9E2B368CB22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64945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5" name="Line 71">
                <a:extLst>
                  <a:ext uri="{FF2B5EF4-FFF2-40B4-BE49-F238E27FC236}">
                    <a16:creationId xmlns:a16="http://schemas.microsoft.com/office/drawing/2014/main" id="{B08E98E2-2275-4757-AF6A-CEA7367028E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79344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6" name="Line 72">
                <a:extLst>
                  <a:ext uri="{FF2B5EF4-FFF2-40B4-BE49-F238E27FC236}">
                    <a16:creationId xmlns:a16="http://schemas.microsoft.com/office/drawing/2014/main" id="{BAF0F2BB-8D3E-4967-B761-CA8A2E97D03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93744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7" name="Line 73">
                <a:extLst>
                  <a:ext uri="{FF2B5EF4-FFF2-40B4-BE49-F238E27FC236}">
                    <a16:creationId xmlns:a16="http://schemas.microsoft.com/office/drawing/2014/main" id="{723DDDCA-6CF4-4716-9D83-57D4098514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8143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8" name="Line 74">
                <a:extLst>
                  <a:ext uri="{FF2B5EF4-FFF2-40B4-BE49-F238E27FC236}">
                    <a16:creationId xmlns:a16="http://schemas.microsoft.com/office/drawing/2014/main" id="{AAEFDC64-D696-421A-A86D-9EB4A4E11CA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22542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39" name="Line 75">
                <a:extLst>
                  <a:ext uri="{FF2B5EF4-FFF2-40B4-BE49-F238E27FC236}">
                    <a16:creationId xmlns:a16="http://schemas.microsoft.com/office/drawing/2014/main" id="{18106B5D-9A4D-4E6A-B509-CCFE36E6471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36941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0" name="Line 76">
                <a:extLst>
                  <a:ext uri="{FF2B5EF4-FFF2-40B4-BE49-F238E27FC236}">
                    <a16:creationId xmlns:a16="http://schemas.microsoft.com/office/drawing/2014/main" id="{BAFB4B40-3FCF-47E4-9472-C68AA657A83A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51340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1" name="Line 77">
                <a:extLst>
                  <a:ext uri="{FF2B5EF4-FFF2-40B4-BE49-F238E27FC236}">
                    <a16:creationId xmlns:a16="http://schemas.microsoft.com/office/drawing/2014/main" id="{91AC1E62-A671-457A-B999-A9AD01C320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65739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2" name="Line 78">
                <a:extLst>
                  <a:ext uri="{FF2B5EF4-FFF2-40B4-BE49-F238E27FC236}">
                    <a16:creationId xmlns:a16="http://schemas.microsoft.com/office/drawing/2014/main" id="{EEE965B0-C6E6-4518-86CD-63D4B7EBA88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80138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3" name="Line 79">
                <a:extLst>
                  <a:ext uri="{FF2B5EF4-FFF2-40B4-BE49-F238E27FC236}">
                    <a16:creationId xmlns:a16="http://schemas.microsoft.com/office/drawing/2014/main" id="{24997377-0B31-44D1-B937-DB15718E3166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94537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4" name="Line 80">
                <a:extLst>
                  <a:ext uri="{FF2B5EF4-FFF2-40B4-BE49-F238E27FC236}">
                    <a16:creationId xmlns:a16="http://schemas.microsoft.com/office/drawing/2014/main" id="{D9108AD2-FE21-4DFA-98C7-9987526429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08936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5" name="Line 81">
                <a:extLst>
                  <a:ext uri="{FF2B5EF4-FFF2-40B4-BE49-F238E27FC236}">
                    <a16:creationId xmlns:a16="http://schemas.microsoft.com/office/drawing/2014/main" id="{1CA5C353-7840-45EE-863A-10C278F5A32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23335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6" name="Line 82">
                <a:extLst>
                  <a:ext uri="{FF2B5EF4-FFF2-40B4-BE49-F238E27FC236}">
                    <a16:creationId xmlns:a16="http://schemas.microsoft.com/office/drawing/2014/main" id="{26AFC1F5-9DCD-49DE-9CC8-D9D4F6233EF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37735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7" name="Line 83">
                <a:extLst>
                  <a:ext uri="{FF2B5EF4-FFF2-40B4-BE49-F238E27FC236}">
                    <a16:creationId xmlns:a16="http://schemas.microsoft.com/office/drawing/2014/main" id="{14B32CED-A602-42D5-A3B1-8FF2269F450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2134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8" name="Line 84">
                <a:extLst>
                  <a:ext uri="{FF2B5EF4-FFF2-40B4-BE49-F238E27FC236}">
                    <a16:creationId xmlns:a16="http://schemas.microsoft.com/office/drawing/2014/main" id="{8898D64B-560A-4FE6-A65E-5FDEE27875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66533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49" name="Line 85">
                <a:extLst>
                  <a:ext uri="{FF2B5EF4-FFF2-40B4-BE49-F238E27FC236}">
                    <a16:creationId xmlns:a16="http://schemas.microsoft.com/office/drawing/2014/main" id="{DE3EB8DA-494D-48D7-9D5A-041A0284061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80932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0" name="Line 86">
                <a:extLst>
                  <a:ext uri="{FF2B5EF4-FFF2-40B4-BE49-F238E27FC236}">
                    <a16:creationId xmlns:a16="http://schemas.microsoft.com/office/drawing/2014/main" id="{090115F5-7C62-42C7-915F-569C75B502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95331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1" name="Line 87">
                <a:extLst>
                  <a:ext uri="{FF2B5EF4-FFF2-40B4-BE49-F238E27FC236}">
                    <a16:creationId xmlns:a16="http://schemas.microsoft.com/office/drawing/2014/main" id="{07150042-95BE-4CDF-8FFB-4CB35B404708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09730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2" name="Line 88">
                <a:extLst>
                  <a:ext uri="{FF2B5EF4-FFF2-40B4-BE49-F238E27FC236}">
                    <a16:creationId xmlns:a16="http://schemas.microsoft.com/office/drawing/2014/main" id="{4D5B66A5-264B-4795-ADBD-502ED4E9C0E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24129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3" name="Line 89">
                <a:extLst>
                  <a:ext uri="{FF2B5EF4-FFF2-40B4-BE49-F238E27FC236}">
                    <a16:creationId xmlns:a16="http://schemas.microsoft.com/office/drawing/2014/main" id="{24BF882A-B84D-4511-B50C-111B07E5187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38528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4" name="Line 90">
                <a:extLst>
                  <a:ext uri="{FF2B5EF4-FFF2-40B4-BE49-F238E27FC236}">
                    <a16:creationId xmlns:a16="http://schemas.microsoft.com/office/drawing/2014/main" id="{E5B34C9D-6C85-473E-B998-6581E2216D0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52927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5" name="Line 91">
                <a:extLst>
                  <a:ext uri="{FF2B5EF4-FFF2-40B4-BE49-F238E27FC236}">
                    <a16:creationId xmlns:a16="http://schemas.microsoft.com/office/drawing/2014/main" id="{44595B99-1CD9-464F-88A0-268D2EA0DDA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67326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6" name="Line 92">
                <a:extLst>
                  <a:ext uri="{FF2B5EF4-FFF2-40B4-BE49-F238E27FC236}">
                    <a16:creationId xmlns:a16="http://schemas.microsoft.com/office/drawing/2014/main" id="{EF9327C4-BC85-4DF3-9D0C-DF77C23C79C2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81726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7" name="Line 93">
                <a:extLst>
                  <a:ext uri="{FF2B5EF4-FFF2-40B4-BE49-F238E27FC236}">
                    <a16:creationId xmlns:a16="http://schemas.microsoft.com/office/drawing/2014/main" id="{C52B8491-D39D-4464-9861-2C3197ED8FB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96125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8" name="Line 94">
                <a:extLst>
                  <a:ext uri="{FF2B5EF4-FFF2-40B4-BE49-F238E27FC236}">
                    <a16:creationId xmlns:a16="http://schemas.microsoft.com/office/drawing/2014/main" id="{F3C1B3B6-065E-4FA1-924E-4932FA75F3E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10524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59" name="Line 95">
                <a:extLst>
                  <a:ext uri="{FF2B5EF4-FFF2-40B4-BE49-F238E27FC236}">
                    <a16:creationId xmlns:a16="http://schemas.microsoft.com/office/drawing/2014/main" id="{30A7F764-5474-4681-ADEE-195CCB1CDA9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24923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0" name="Line 96">
                <a:extLst>
                  <a:ext uri="{FF2B5EF4-FFF2-40B4-BE49-F238E27FC236}">
                    <a16:creationId xmlns:a16="http://schemas.microsoft.com/office/drawing/2014/main" id="{3B41F62B-F78D-4258-B192-ED82846047B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39322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1" name="Line 97">
                <a:extLst>
                  <a:ext uri="{FF2B5EF4-FFF2-40B4-BE49-F238E27FC236}">
                    <a16:creationId xmlns:a16="http://schemas.microsoft.com/office/drawing/2014/main" id="{2DC9E165-C10D-4D83-9EF1-A5082CA9ACA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53721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2" name="Line 98">
                <a:extLst>
                  <a:ext uri="{FF2B5EF4-FFF2-40B4-BE49-F238E27FC236}">
                    <a16:creationId xmlns:a16="http://schemas.microsoft.com/office/drawing/2014/main" id="{4C420AD3-BC41-430F-A995-2E86A183D761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68120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3" name="Line 99">
                <a:extLst>
                  <a:ext uri="{FF2B5EF4-FFF2-40B4-BE49-F238E27FC236}">
                    <a16:creationId xmlns:a16="http://schemas.microsoft.com/office/drawing/2014/main" id="{7D129CCC-152F-4AB2-AE1B-A27D9C38917B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18573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4" name="Line 100">
                <a:extLst>
                  <a:ext uri="{FF2B5EF4-FFF2-40B4-BE49-F238E27FC236}">
                    <a16:creationId xmlns:a16="http://schemas.microsoft.com/office/drawing/2014/main" id="{6BA0EE88-775D-4DED-AAA9-0F84326588B0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82519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5" name="Line 103">
                <a:extLst>
                  <a:ext uri="{FF2B5EF4-FFF2-40B4-BE49-F238E27FC236}">
                    <a16:creationId xmlns:a16="http://schemas.microsoft.com/office/drawing/2014/main" id="{1B7CC1FA-EF48-429B-800A-C666B45F97D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5505467" y="613151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6" name="Line 99">
                <a:extLst>
                  <a:ext uri="{FF2B5EF4-FFF2-40B4-BE49-F238E27FC236}">
                    <a16:creationId xmlns:a16="http://schemas.microsoft.com/office/drawing/2014/main" id="{C39D7A7B-875D-43E7-AA15-D0D41D5A20AC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4174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7" name="Line 99">
                <a:extLst>
                  <a:ext uri="{FF2B5EF4-FFF2-40B4-BE49-F238E27FC236}">
                    <a16:creationId xmlns:a16="http://schemas.microsoft.com/office/drawing/2014/main" id="{4A221A8F-AA8C-429F-99F2-D9ACCFDE2C97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89775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8" name="Line 100">
                <a:extLst>
                  <a:ext uri="{FF2B5EF4-FFF2-40B4-BE49-F238E27FC236}">
                    <a16:creationId xmlns:a16="http://schemas.microsoft.com/office/drawing/2014/main" id="{1B79F200-A8BA-489D-9E77-C350590CE1E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9969199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69" name="Line 99">
                <a:extLst>
                  <a:ext uri="{FF2B5EF4-FFF2-40B4-BE49-F238E27FC236}">
                    <a16:creationId xmlns:a16="http://schemas.microsoft.com/office/drawing/2014/main" id="{9A9BC62E-DEA8-496F-9E8B-1B999891A0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321791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0" name="Line 99">
                <a:extLst>
                  <a:ext uri="{FF2B5EF4-FFF2-40B4-BE49-F238E27FC236}">
                    <a16:creationId xmlns:a16="http://schemas.microsoft.com/office/drawing/2014/main" id="{BC335BF3-4274-4A7A-B852-B31B51C45AB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77800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1" name="Line 99">
                <a:extLst>
                  <a:ext uri="{FF2B5EF4-FFF2-40B4-BE49-F238E27FC236}">
                    <a16:creationId xmlns:a16="http://schemas.microsoft.com/office/drawing/2014/main" id="{940DEF4C-4D14-40D8-A28C-36C47C1FFE4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609773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2" name="Line 99">
                <a:extLst>
                  <a:ext uri="{FF2B5EF4-FFF2-40B4-BE49-F238E27FC236}">
                    <a16:creationId xmlns:a16="http://schemas.microsoft.com/office/drawing/2014/main" id="{71D8B819-6FF4-4244-975C-DF2F219F8F3F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465782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3" name="Line 99">
                <a:extLst>
                  <a:ext uri="{FF2B5EF4-FFF2-40B4-BE49-F238E27FC236}">
                    <a16:creationId xmlns:a16="http://schemas.microsoft.com/office/drawing/2014/main" id="{29ADFD8F-4616-40E9-BE5A-9A5DDF4C845E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753764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4" name="Line 100">
                <a:extLst>
                  <a:ext uri="{FF2B5EF4-FFF2-40B4-BE49-F238E27FC236}">
                    <a16:creationId xmlns:a16="http://schemas.microsoft.com/office/drawing/2014/main" id="{C8F65069-8B3E-410E-BFB0-329AB5A58C4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113637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5" name="Line 100">
                <a:extLst>
                  <a:ext uri="{FF2B5EF4-FFF2-40B4-BE49-F238E27FC236}">
                    <a16:creationId xmlns:a16="http://schemas.microsoft.com/office/drawing/2014/main" id="{3957CFDD-1A24-41AD-AC46-02B96736D4F9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258075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6" name="Line 100">
                <a:extLst>
                  <a:ext uri="{FF2B5EF4-FFF2-40B4-BE49-F238E27FC236}">
                    <a16:creationId xmlns:a16="http://schemas.microsoft.com/office/drawing/2014/main" id="{A64D2D0B-0CD8-4B73-9AA1-49902EB1BFD3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402066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  <p:sp>
            <p:nvSpPr>
              <p:cNvPr id="77" name="Line 100">
                <a:extLst>
                  <a:ext uri="{FF2B5EF4-FFF2-40B4-BE49-F238E27FC236}">
                    <a16:creationId xmlns:a16="http://schemas.microsoft.com/office/drawing/2014/main" id="{6AB7AC07-4830-4DE3-B49F-37FAA2CE1C05}"/>
                  </a:ext>
                </a:extLst>
              </p:cNvPr>
              <p:cNvSpPr>
                <a:spLocks noChangeShapeType="1"/>
              </p:cNvSpPr>
              <p:nvPr userDrawn="1"/>
            </p:nvSpPr>
            <p:spPr bwMode="auto">
              <a:xfrm>
                <a:off x="10546068" y="613150"/>
                <a:ext cx="0" cy="6767137"/>
              </a:xfrm>
              <a:prstGeom prst="line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ja-JP" altLang="en-US" sz="15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90608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2" r:id="rId3"/>
    <p:sldLayoutId id="2147483651" r:id="rId4"/>
    <p:sldLayoutId id="2147483650" r:id="rId5"/>
    <p:sldLayoutId id="2147483655" r:id="rId6"/>
    <p:sldLayoutId id="2147483656" r:id="rId7"/>
    <p:sldLayoutId id="2147483653" r:id="rId8"/>
    <p:sldLayoutId id="2147483658" r:id="rId9"/>
    <p:sldLayoutId id="2147483659" r:id="rId10"/>
  </p:sldLayoutIdLst>
  <p:txStyles>
    <p:titleStyle>
      <a:lvl1pPr algn="ctr" defTabSz="914406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ctr" defTabSz="914406" rtl="0" eaLnBrk="1" latinLnBrk="0" hangingPunct="1">
        <a:lnSpc>
          <a:spcPct val="90000"/>
        </a:lnSpc>
        <a:spcBef>
          <a:spcPts val="1000"/>
        </a:spcBef>
        <a:buFontTx/>
        <a:buNone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6" rtl="0" eaLnBrk="1" latinLnBrk="0" hangingPunct="1">
        <a:lnSpc>
          <a:spcPct val="90000"/>
        </a:lnSpc>
        <a:spcBef>
          <a:spcPts val="500"/>
        </a:spcBef>
        <a:buFontTx/>
        <a:buNone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17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19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23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25" indent="-228602" algn="l" defTabSz="91440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3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6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9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12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15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18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21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24" algn="l" defTabSz="914406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20" userDrawn="1">
          <p15:clr>
            <a:srgbClr val="F26B43"/>
          </p15:clr>
        </p15:guide>
        <p15:guide id="4" orient="horz" pos="4217" userDrawn="1">
          <p15:clr>
            <a:srgbClr val="F26B43"/>
          </p15:clr>
        </p15:guide>
        <p15:guide id="5" pos="6145" userDrawn="1">
          <p15:clr>
            <a:srgbClr val="F26B43"/>
          </p15:clr>
        </p15:guide>
        <p15:guide id="6" pos="95" userDrawn="1">
          <p15:clr>
            <a:srgbClr val="F26B43"/>
          </p15:clr>
        </p15:guide>
        <p15:guide id="7" orient="horz" pos="63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<Relationships xmlns="http://schemas.openxmlformats.org/package/2006/relationships"><Relationship Id="rId1" Target="../tags/tag3.xml" Type="http://schemas.openxmlformats.org/officeDocument/2006/relationships/tags"/><Relationship Id="rId2" Target="../slideLayouts/slideLayout10.xml" Type="http://schemas.openxmlformats.org/officeDocument/2006/relationships/slideLayout"/><Relationship Id="rId3" Target="../notesSlides/notesSlide1.xml" Type="http://schemas.openxmlformats.org/officeDocument/2006/relationships/notesSlide"/><Relationship Id="rId4" Target="../embeddings/oleObject2.bin" Type="http://schemas.openxmlformats.org/officeDocument/2006/relationships/oleObject"/><Relationship Id="rId5" Target="../media/image1.emf" Type="http://schemas.openxmlformats.org/officeDocument/2006/relationships/image"/><Relationship Id="rId6" Target="../media/image15.png" Type="http://schemas.openxmlformats.org/officeDocument/2006/relationships/image"/></Relationships>
</file>

<file path=ppt/slides/_rels/slide2.xml.rels><?xml version="1.0" encoding="UTF-8" standalone="yes"?><Relationships xmlns="http://schemas.openxmlformats.org/package/2006/relationships"><Relationship Id="rId1" Target="../tags/tag4.xml" Type="http://schemas.openxmlformats.org/officeDocument/2006/relationships/tags"/><Relationship Id="rId2" Target="../slideLayouts/slideLayout10.xml" Type="http://schemas.openxmlformats.org/officeDocument/2006/relationships/slideLayout"/><Relationship Id="rId3" Target="../notesSlides/notesSlide2.xml" Type="http://schemas.openxmlformats.org/officeDocument/2006/relationships/notesSlide"/><Relationship Id="rId4" Target="../embeddings/oleObject2.bin" Type="http://schemas.openxmlformats.org/officeDocument/2006/relationships/oleObject"/><Relationship Id="rId5" Target="../media/image1.emf" Type="http://schemas.openxmlformats.org/officeDocument/2006/relationships/image"/><Relationship Id="rId6" Target="../media/image15.png" Type="http://schemas.openxmlformats.org/officeDocument/2006/relationships/image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E7F03E2A-249D-47BB-B93B-C37147D891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5838" y="72921"/>
          <a:ext cx="1411" cy="14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E7F03E2A-249D-47BB-B93B-C37147D89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5838" y="72921"/>
                        <a:ext cx="1411" cy="14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A297745C-7241-40B2-A78F-1626D13992D3}"/>
              </a:ext>
            </a:extLst>
          </p:cNvPr>
          <p:cNvSpPr/>
          <p:nvPr/>
        </p:nvSpPr>
        <p:spPr>
          <a:xfrm>
            <a:off x="62400" y="52211"/>
            <a:ext cx="5398600" cy="518152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7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</a:rPr>
              <a:t>「〇〇（</a:t>
            </a:r>
            <a:r>
              <a:rPr lang="ja-JP" altLang="en-US" sz="1750" b="1" dirty="0">
                <a:latin typeface="Meiryo UI"/>
                <a:ea typeface="Meiryo UI"/>
              </a:rPr>
              <a:t>県名）・〇〇（市町村名）</a:t>
            </a:r>
            <a:r>
              <a:rPr kumimoji="1" lang="ja-JP" altLang="en-US" sz="175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</a:rPr>
              <a:t>」</a:t>
            </a:r>
            <a:endParaRPr kumimoji="1" lang="en-US" sz="175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 UI"/>
              <a:ea typeface="Meiryo UI"/>
            </a:endParaRPr>
          </a:p>
        </p:txBody>
      </p:sp>
      <p:grpSp>
        <p:nvGrpSpPr>
          <p:cNvPr id="5" name="グループ化 4"/>
          <p:cNvGrpSpPr/>
          <p:nvPr/>
        </p:nvGrpSpPr>
        <p:grpSpPr>
          <a:xfrm>
            <a:off x="59715" y="5071411"/>
            <a:ext cx="9779610" cy="1619064"/>
            <a:chOff x="512002" y="2435539"/>
            <a:chExt cx="8835763" cy="2229001"/>
          </a:xfrm>
        </p:grpSpPr>
        <p:sp>
          <p:nvSpPr>
            <p:cNvPr id="35" name="正方形/長方形 34">
              <a:extLst>
                <a:ext uri="{FF2B5EF4-FFF2-40B4-BE49-F238E27FC236}">
                  <a16:creationId xmlns:a16="http://schemas.microsoft.com/office/drawing/2014/main" id="{B71819CA-3200-421B-B328-F7763D3F7ED2}"/>
                </a:ext>
              </a:extLst>
            </p:cNvPr>
            <p:cNvSpPr/>
            <p:nvPr/>
          </p:nvSpPr>
          <p:spPr>
            <a:xfrm>
              <a:off x="512002" y="2435539"/>
              <a:ext cx="8835763" cy="472473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+mn-cs"/>
                </a:rPr>
                <a:t>４．企業に求めたい内容</a:t>
              </a:r>
              <a:endParaRPr kumimoji="1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</p:txBody>
        </p:sp>
        <p:sp>
          <p:nvSpPr>
            <p:cNvPr id="37" name="正方形/長方形 36">
              <a:extLst>
                <a:ext uri="{FF2B5EF4-FFF2-40B4-BE49-F238E27FC236}">
                  <a16:creationId xmlns:a16="http://schemas.microsoft.com/office/drawing/2014/main" id="{DFB914CB-C45E-44DD-8329-E574449D554E}"/>
                </a:ext>
              </a:extLst>
            </p:cNvPr>
            <p:cNvSpPr/>
            <p:nvPr/>
          </p:nvSpPr>
          <p:spPr>
            <a:xfrm>
              <a:off x="512002" y="2908014"/>
              <a:ext cx="8835763" cy="1756526"/>
            </a:xfrm>
            <a:prstGeom prst="rect">
              <a:avLst/>
            </a:prstGeom>
            <a:noFill/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</p:txBody>
        </p:sp>
      </p:grp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CEFA69EF-75C6-6E29-D762-F29C5BC16971}"/>
              </a:ext>
            </a:extLst>
          </p:cNvPr>
          <p:cNvSpPr txBox="1"/>
          <p:nvPr/>
        </p:nvSpPr>
        <p:spPr>
          <a:xfrm>
            <a:off x="5554261" y="891"/>
            <a:ext cx="12426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【</a:t>
            </a:r>
            <a:r>
              <a:rPr kumimoji="1" lang="ja-JP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九州・沖縄地区</a:t>
            </a:r>
            <a:r>
              <a:rPr kumimoji="1" lang="en-US" altLang="ja-JP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】</a:t>
            </a:r>
            <a:endParaRPr kumimoji="1" lang="ja-JP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D1111DC-58D7-0292-F72B-0960EB05F9CC}"/>
              </a:ext>
            </a:extLst>
          </p:cNvPr>
          <p:cNvSpPr txBox="1"/>
          <p:nvPr/>
        </p:nvSpPr>
        <p:spPr>
          <a:xfrm>
            <a:off x="5554261" y="262501"/>
            <a:ext cx="30973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令和</a:t>
            </a:r>
            <a:r>
              <a:rPr kumimoji="1" lang="en-US" altLang="ja-JP" sz="11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5</a:t>
            </a:r>
            <a:r>
              <a:rPr kumimoji="1" lang="ja-JP" altLang="en-US" sz="11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地域脱炭素に向けたマッチングイベント概要書</a:t>
            </a:r>
          </a:p>
        </p:txBody>
      </p:sp>
      <p:pic>
        <p:nvPicPr>
          <p:cNvPr id="24" name="図 23">
            <a:extLst>
              <a:ext uri="{FF2B5EF4-FFF2-40B4-BE49-F238E27FC236}">
                <a16:creationId xmlns:a16="http://schemas.microsoft.com/office/drawing/2014/main" id="{0E13EFF5-98EB-BC07-BE98-515BD4C469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62581" y="43955"/>
            <a:ext cx="762000" cy="552450"/>
          </a:xfrm>
          <a:prstGeom prst="rect">
            <a:avLst/>
          </a:prstGeom>
        </p:spPr>
      </p:pic>
      <p:sp>
        <p:nvSpPr>
          <p:cNvPr id="4" name="テキスト ボックス 1">
            <a:extLst>
              <a:ext uri="{FF2B5EF4-FFF2-40B4-BE49-F238E27FC236}">
                <a16:creationId xmlns:a16="http://schemas.microsoft.com/office/drawing/2014/main" id="{2527D488-8DD8-9BA0-8B52-815FE6BAEC0B}"/>
              </a:ext>
            </a:extLst>
          </p:cNvPr>
          <p:cNvSpPr txBox="1"/>
          <p:nvPr/>
        </p:nvSpPr>
        <p:spPr>
          <a:xfrm>
            <a:off x="-1993" y="6691220"/>
            <a:ext cx="3990195" cy="21544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>
            <a:defPPr>
              <a:defRPr lang="ja-JP"/>
            </a:defPPr>
            <a:lvl1pPr marL="0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9938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39876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9815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9753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99691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19629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39567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59506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ja-JP" sz="800" b="0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Times New Roman"/>
              </a:rPr>
              <a:t>※本</a:t>
            </a:r>
            <a:r>
              <a:rPr lang="ja-JP" altLang="ja-JP" sz="800" kern="100" dirty="0">
                <a:latin typeface="Meiryo UI"/>
                <a:ea typeface="Meiryo UI"/>
                <a:cs typeface="Times New Roman"/>
              </a:rPr>
              <a:t>概要書</a:t>
            </a:r>
            <a:r>
              <a:rPr kumimoji="1" lang="ja-JP" altLang="ja-JP" sz="800" b="0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Times New Roman"/>
              </a:rPr>
              <a:t>は、</a:t>
            </a:r>
            <a:r>
              <a:rPr lang="ja-JP" altLang="en-US" sz="800" kern="100" dirty="0">
                <a:latin typeface="Meiryo UI"/>
                <a:ea typeface="Meiryo UI"/>
                <a:cs typeface="Times New Roman"/>
              </a:rPr>
              <a:t>ブース出展者及び来場者に事前配布する</a:t>
            </a:r>
            <a:r>
              <a:rPr kumimoji="1" lang="ja-JP" altLang="en-US" sz="800" b="0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Times New Roman"/>
              </a:rPr>
              <a:t>パンフレット</a:t>
            </a:r>
            <a:r>
              <a:rPr kumimoji="1" lang="ja-JP" altLang="ja-JP" sz="800" b="0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Times New Roman"/>
              </a:rPr>
              <a:t>に掲載する予定です。</a:t>
            </a:r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EB0E83F9-0638-7823-27F5-4F27694B02EE}"/>
              </a:ext>
            </a:extLst>
          </p:cNvPr>
          <p:cNvSpPr/>
          <p:nvPr/>
        </p:nvSpPr>
        <p:spPr>
          <a:xfrm>
            <a:off x="70694" y="1910449"/>
            <a:ext cx="5556080" cy="1575712"/>
          </a:xfrm>
          <a:prstGeom prst="rect">
            <a:avLst/>
          </a:prstGeom>
          <a:noFill/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9ADDFDA8-DF2A-231F-9211-7283734B17B6}"/>
              </a:ext>
            </a:extLst>
          </p:cNvPr>
          <p:cNvSpPr/>
          <p:nvPr/>
        </p:nvSpPr>
        <p:spPr>
          <a:xfrm>
            <a:off x="5912457" y="1910449"/>
            <a:ext cx="3937846" cy="1575712"/>
          </a:xfrm>
          <a:prstGeom prst="rect">
            <a:avLst/>
          </a:prstGeom>
          <a:noFill/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D447BF16-7AD4-4EB4-59EB-5B16DD5216A0}"/>
              </a:ext>
            </a:extLst>
          </p:cNvPr>
          <p:cNvSpPr/>
          <p:nvPr/>
        </p:nvSpPr>
        <p:spPr>
          <a:xfrm>
            <a:off x="70693" y="1715379"/>
            <a:ext cx="9779609" cy="327614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600" b="1" dirty="0">
                <a:solidFill>
                  <a:prstClr val="white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２</a:t>
            </a: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．地域の抱える課題　</a:t>
            </a:r>
            <a:endParaRPr kumimoji="1" lang="en-US" altLang="ja-JP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E00B4561-9B36-7E59-6E9F-477FADFDCB72}"/>
              </a:ext>
            </a:extLst>
          </p:cNvPr>
          <p:cNvSpPr/>
          <p:nvPr/>
        </p:nvSpPr>
        <p:spPr>
          <a:xfrm>
            <a:off x="70694" y="2075848"/>
            <a:ext cx="1945254" cy="145197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【</a:t>
            </a:r>
            <a:r>
              <a:rPr kumimoji="1" lang="ja-JP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環境・脱炭素に関する課題</a:t>
            </a:r>
            <a:r>
              <a:rPr kumimoji="1" lang="en-US" altLang="ja-JP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】</a:t>
            </a:r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9948309A-8751-0182-353D-981D78EA3FDC}"/>
              </a:ext>
            </a:extLst>
          </p:cNvPr>
          <p:cNvSpPr/>
          <p:nvPr/>
        </p:nvSpPr>
        <p:spPr>
          <a:xfrm>
            <a:off x="5936126" y="2075848"/>
            <a:ext cx="1945254" cy="145197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【</a:t>
            </a:r>
            <a:r>
              <a:rPr kumimoji="1" lang="ja-JP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同時解決したい地域の課題</a:t>
            </a:r>
            <a:r>
              <a:rPr kumimoji="1" lang="en-US" altLang="ja-JP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】</a:t>
            </a:r>
          </a:p>
        </p:txBody>
      </p:sp>
      <p:grpSp>
        <p:nvGrpSpPr>
          <p:cNvPr id="33" name="グループ化 32">
            <a:extLst>
              <a:ext uri="{FF2B5EF4-FFF2-40B4-BE49-F238E27FC236}">
                <a16:creationId xmlns:a16="http://schemas.microsoft.com/office/drawing/2014/main" id="{EC3CDCCC-DD63-CA70-EB18-F6FABB15C386}"/>
              </a:ext>
            </a:extLst>
          </p:cNvPr>
          <p:cNvGrpSpPr/>
          <p:nvPr/>
        </p:nvGrpSpPr>
        <p:grpSpPr>
          <a:xfrm>
            <a:off x="59715" y="3556080"/>
            <a:ext cx="6919925" cy="1436036"/>
            <a:chOff x="512002" y="2435539"/>
            <a:chExt cx="6252071" cy="2372208"/>
          </a:xfrm>
        </p:grpSpPr>
        <p:sp>
          <p:nvSpPr>
            <p:cNvPr id="34" name="正方形/長方形 33">
              <a:extLst>
                <a:ext uri="{FF2B5EF4-FFF2-40B4-BE49-F238E27FC236}">
                  <a16:creationId xmlns:a16="http://schemas.microsoft.com/office/drawing/2014/main" id="{3495C9B6-1C8E-BC5B-58CD-EA1BD4CABDF0}"/>
                </a:ext>
              </a:extLst>
            </p:cNvPr>
            <p:cNvSpPr/>
            <p:nvPr/>
          </p:nvSpPr>
          <p:spPr>
            <a:xfrm>
              <a:off x="512002" y="2435539"/>
              <a:ext cx="6252071" cy="472474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eiryo UI"/>
                  <a:ea typeface="Meiryo UI"/>
                </a:rPr>
                <a:t>３．</a:t>
              </a:r>
              <a:r>
                <a:rPr lang="ja-JP" altLang="en-US" sz="1600" b="1" dirty="0">
                  <a:latin typeface="Meiryo UI"/>
                  <a:ea typeface="Meiryo UI"/>
                </a:rPr>
                <a:t>取組</a:t>
              </a:r>
              <a:r>
                <a:rPr kumimoji="1" lang="ja-JP" altLang="en-US" sz="16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eiryo UI"/>
                  <a:ea typeface="Meiryo UI"/>
                </a:rPr>
                <a:t>の概要</a:t>
              </a:r>
              <a:endParaRPr kumimoji="1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</a:endParaRPr>
            </a:p>
          </p:txBody>
        </p:sp>
        <p:sp>
          <p:nvSpPr>
            <p:cNvPr id="36" name="正方形/長方形 35">
              <a:extLst>
                <a:ext uri="{FF2B5EF4-FFF2-40B4-BE49-F238E27FC236}">
                  <a16:creationId xmlns:a16="http://schemas.microsoft.com/office/drawing/2014/main" id="{09878549-F399-6FC7-0D91-5DEBF46A9B40}"/>
                </a:ext>
              </a:extLst>
            </p:cNvPr>
            <p:cNvSpPr/>
            <p:nvPr/>
          </p:nvSpPr>
          <p:spPr>
            <a:xfrm>
              <a:off x="512002" y="2908013"/>
              <a:ext cx="6252071" cy="1899734"/>
            </a:xfrm>
            <a:prstGeom prst="rect">
              <a:avLst/>
            </a:prstGeom>
            <a:noFill/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</p:txBody>
        </p:sp>
      </p:grp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6E388A57-026B-107D-6153-A57ACE08B570}"/>
              </a:ext>
            </a:extLst>
          </p:cNvPr>
          <p:cNvSpPr/>
          <p:nvPr/>
        </p:nvSpPr>
        <p:spPr>
          <a:xfrm>
            <a:off x="59715" y="659156"/>
            <a:ext cx="9790587" cy="984847"/>
          </a:xfrm>
          <a:prstGeom prst="rect">
            <a:avLst/>
          </a:prstGeom>
          <a:noFill/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EBD1F3B8-C8F5-32E7-FB6C-76EC951E99A7}"/>
              </a:ext>
            </a:extLst>
          </p:cNvPr>
          <p:cNvSpPr/>
          <p:nvPr/>
        </p:nvSpPr>
        <p:spPr>
          <a:xfrm>
            <a:off x="70695" y="666069"/>
            <a:ext cx="9768630" cy="327614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600" b="1" dirty="0">
                <a:latin typeface="Meiryo UI"/>
                <a:ea typeface="Meiryo UI"/>
              </a:rPr>
              <a:t>１</a:t>
            </a: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</a:rPr>
              <a:t>．地域特性（ビジョンなど）</a:t>
            </a:r>
            <a:endParaRPr kumimoji="1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 UI"/>
              <a:ea typeface="Meiryo UI"/>
            </a:endParaRPr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41CC0FEA-4252-08AD-2C83-5D3D58C607D5}"/>
              </a:ext>
            </a:extLst>
          </p:cNvPr>
          <p:cNvSpPr/>
          <p:nvPr/>
        </p:nvSpPr>
        <p:spPr>
          <a:xfrm>
            <a:off x="7128089" y="3565456"/>
            <a:ext cx="2666559" cy="1425974"/>
          </a:xfrm>
          <a:prstGeom prst="rect">
            <a:avLst/>
          </a:prstGeom>
          <a:noFill/>
          <a:ln>
            <a:solidFill>
              <a:srgbClr val="009C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取組の方向性・</a:t>
            </a:r>
            <a:r>
              <a:rPr kumimoji="1" lang="ja-JP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概要等のイメージ</a:t>
            </a:r>
            <a:endParaRPr kumimoji="1" lang="en-US" altLang="ja-JP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  <a:p>
            <a:pPr marL="0" marR="0" lvl="0" indent="0" algn="ctr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  <a:t>（イラスト・写真掲載の欄として活用ください）</a:t>
            </a:r>
            <a:endParaRPr kumimoji="1" lang="en-US" altLang="ja-JP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094E3D6D-7265-BDFE-98C4-F461E6ED83CB}"/>
              </a:ext>
            </a:extLst>
          </p:cNvPr>
          <p:cNvSpPr/>
          <p:nvPr/>
        </p:nvSpPr>
        <p:spPr>
          <a:xfrm>
            <a:off x="10315574" y="1876425"/>
            <a:ext cx="3019425" cy="127952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kumimoji="1" lang="ja-JP" altLang="en-US" sz="16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12B9D304-78CA-E6B6-4BC9-32FD85EBE1DE}"/>
              </a:ext>
            </a:extLst>
          </p:cNvPr>
          <p:cNvSpPr/>
          <p:nvPr/>
        </p:nvSpPr>
        <p:spPr>
          <a:xfrm>
            <a:off x="10208395" y="1776978"/>
            <a:ext cx="3019425" cy="1279529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r>
              <a:rPr kumimoji="1" lang="ja-JP" altLang="en-US" sz="11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　提出先：</a:t>
            </a:r>
            <a:endParaRPr kumimoji="1" lang="en-US" altLang="ja-JP" sz="11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ja-JP" altLang="en-US" sz="900" b="0" i="0" dirty="0">
                <a:solidFill>
                  <a:srgbClr val="333333"/>
                </a:solidFill>
                <a:effectLst/>
                <a:latin typeface="Noto Sans JP"/>
              </a:rPr>
              <a:t>　九州地方環境パートナーシップオフィス</a:t>
            </a:r>
            <a:r>
              <a:rPr lang="ja-JP" altLang="en-US" sz="1100" b="0" i="0" dirty="0">
                <a:solidFill>
                  <a:srgbClr val="333333"/>
                </a:solidFill>
                <a:effectLst/>
                <a:latin typeface="Noto Sans JP"/>
              </a:rPr>
              <a:t>（</a:t>
            </a:r>
            <a:r>
              <a:rPr lang="en-US" altLang="ja-JP" sz="1100" b="0" i="0" dirty="0">
                <a:solidFill>
                  <a:srgbClr val="333333"/>
                </a:solidFill>
                <a:effectLst/>
                <a:latin typeface="Noto Sans JP"/>
              </a:rPr>
              <a:t>EPO</a:t>
            </a:r>
            <a:r>
              <a:rPr lang="ja-JP" altLang="en-US" sz="1100" b="0" i="0" dirty="0">
                <a:solidFill>
                  <a:srgbClr val="333333"/>
                </a:solidFill>
                <a:effectLst/>
                <a:latin typeface="Noto Sans JP"/>
              </a:rPr>
              <a:t>九州）</a:t>
            </a:r>
            <a:endParaRPr lang="en-US" altLang="ja-JP" sz="1100" b="0" i="0" dirty="0">
              <a:solidFill>
                <a:srgbClr val="333333"/>
              </a:solidFill>
              <a:effectLst/>
              <a:latin typeface="Noto Sans JP"/>
            </a:endParaRPr>
          </a:p>
          <a:p>
            <a:r>
              <a:rPr lang="ja-JP" altLang="en-US" sz="1000" b="0" i="0" dirty="0">
                <a:solidFill>
                  <a:srgbClr val="333333"/>
                </a:solidFill>
                <a:effectLst/>
                <a:latin typeface="Noto Sans JP"/>
              </a:rPr>
              <a:t>　</a:t>
            </a:r>
            <a:r>
              <a:rPr lang="en-US" altLang="ja-JP" sz="1000" b="0" i="0" dirty="0">
                <a:solidFill>
                  <a:srgbClr val="333333"/>
                </a:solidFill>
                <a:effectLst/>
                <a:latin typeface="Noto Sans JP"/>
              </a:rPr>
              <a:t>E-mail</a:t>
            </a:r>
            <a:r>
              <a:rPr lang="ja-JP" altLang="en-US" sz="1000" b="0" i="0" dirty="0">
                <a:solidFill>
                  <a:srgbClr val="333333"/>
                </a:solidFill>
                <a:effectLst/>
                <a:latin typeface="Noto Sans JP"/>
              </a:rPr>
              <a:t>： </a:t>
            </a:r>
            <a:r>
              <a:rPr lang="en-US" altLang="ja-JP" sz="1000" b="0" i="0" dirty="0">
                <a:solidFill>
                  <a:srgbClr val="333333"/>
                </a:solidFill>
                <a:effectLst/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epo-junkanken@epo-kyushu.jp</a:t>
            </a:r>
          </a:p>
          <a:p>
            <a:endParaRPr kumimoji="1" lang="en-US" altLang="ja-JP" sz="1000" dirty="0">
              <a:solidFill>
                <a:srgbClr val="333333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r>
              <a:rPr lang="ja-JP" altLang="en-US" sz="1000" dirty="0">
                <a:solidFill>
                  <a:srgbClr val="333333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提出期限：</a:t>
            </a:r>
            <a:endParaRPr lang="en-US" altLang="ja-JP" sz="1000" dirty="0">
              <a:solidFill>
                <a:srgbClr val="333333"/>
              </a:solidFill>
              <a:latin typeface="BIZ UDPゴシック" panose="020B0400000000000000" pitchFamily="50" charset="-128"/>
              <a:ea typeface="BIZ UDPゴシック" panose="020B0400000000000000" pitchFamily="50" charset="-128"/>
            </a:endParaRPr>
          </a:p>
          <a:p>
            <a:r>
              <a:rPr kumimoji="1" lang="ja-JP" altLang="en-US" sz="1000" dirty="0">
                <a:solidFill>
                  <a:srgbClr val="333333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　</a:t>
            </a:r>
            <a:r>
              <a:rPr kumimoji="1" lang="en-US" altLang="ja-JP" sz="1000" dirty="0">
                <a:solidFill>
                  <a:srgbClr val="333333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2023</a:t>
            </a:r>
            <a:r>
              <a:rPr kumimoji="1" lang="ja-JP" altLang="en-US" sz="1000" dirty="0">
                <a:solidFill>
                  <a:srgbClr val="333333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年</a:t>
            </a:r>
            <a:r>
              <a:rPr kumimoji="1" lang="en-US" altLang="ja-JP" sz="1000" dirty="0">
                <a:solidFill>
                  <a:srgbClr val="333333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8</a:t>
            </a:r>
            <a:r>
              <a:rPr kumimoji="1" lang="ja-JP" altLang="en-US" sz="1000" dirty="0">
                <a:solidFill>
                  <a:srgbClr val="333333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月</a:t>
            </a:r>
            <a:r>
              <a:rPr kumimoji="1" lang="en-US" altLang="ja-JP" sz="1000" dirty="0">
                <a:solidFill>
                  <a:srgbClr val="333333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31</a:t>
            </a:r>
            <a:r>
              <a:rPr kumimoji="1" lang="ja-JP" altLang="en-US" sz="1000" dirty="0">
                <a:solidFill>
                  <a:srgbClr val="333333"/>
                </a:solidFill>
                <a:latin typeface="BIZ UDPゴシック" panose="020B0400000000000000" pitchFamily="50" charset="-128"/>
                <a:ea typeface="BIZ UDPゴシック" panose="020B0400000000000000" pitchFamily="50" charset="-128"/>
              </a:rPr>
              <a:t>日（木）</a:t>
            </a:r>
            <a:endParaRPr kumimoji="1" lang="ja-JP" altLang="en-US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344913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E7F03E2A-249D-47BB-B93B-C37147D891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5838" y="72921"/>
          <a:ext cx="1411" cy="141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E7F03E2A-249D-47BB-B93B-C37147D891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5838" y="72921"/>
                        <a:ext cx="1411" cy="141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>
            <a:extLst>
              <a:ext uri="{FF2B5EF4-FFF2-40B4-BE49-F238E27FC236}">
                <a16:creationId xmlns:a16="http://schemas.microsoft.com/office/drawing/2014/main" id="{A297745C-7241-40B2-A78F-1626D13992D3}"/>
              </a:ext>
            </a:extLst>
          </p:cNvPr>
          <p:cNvSpPr/>
          <p:nvPr/>
        </p:nvSpPr>
        <p:spPr>
          <a:xfrm>
            <a:off x="62400" y="52211"/>
            <a:ext cx="5398600" cy="518152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7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「〇〇（県名）・〇〇（市町村名）」</a:t>
            </a:r>
            <a:endParaRPr kumimoji="1" lang="en-US" sz="17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grpSp>
        <p:nvGrpSpPr>
          <p:cNvPr id="5" name="グループ化 4"/>
          <p:cNvGrpSpPr/>
          <p:nvPr/>
        </p:nvGrpSpPr>
        <p:grpSpPr>
          <a:xfrm>
            <a:off x="59715" y="5071411"/>
            <a:ext cx="9779610" cy="1619064"/>
            <a:chOff x="512002" y="2435539"/>
            <a:chExt cx="8835763" cy="2229001"/>
          </a:xfrm>
        </p:grpSpPr>
        <p:sp>
          <p:nvSpPr>
            <p:cNvPr id="35" name="正方形/長方形 34">
              <a:extLst>
                <a:ext uri="{FF2B5EF4-FFF2-40B4-BE49-F238E27FC236}">
                  <a16:creationId xmlns:a16="http://schemas.microsoft.com/office/drawing/2014/main" id="{B71819CA-3200-421B-B328-F7763D3F7ED2}"/>
                </a:ext>
              </a:extLst>
            </p:cNvPr>
            <p:cNvSpPr/>
            <p:nvPr/>
          </p:nvSpPr>
          <p:spPr>
            <a:xfrm>
              <a:off x="512002" y="2435539"/>
              <a:ext cx="8835763" cy="472473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  <a:cs typeface="+mn-cs"/>
                </a:rPr>
                <a:t>４．企業に求めたい内容</a:t>
              </a:r>
              <a:endParaRPr kumimoji="1" lang="en-US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</p:txBody>
        </p:sp>
        <p:sp>
          <p:nvSpPr>
            <p:cNvPr id="37" name="正方形/長方形 36">
              <a:extLst>
                <a:ext uri="{FF2B5EF4-FFF2-40B4-BE49-F238E27FC236}">
                  <a16:creationId xmlns:a16="http://schemas.microsoft.com/office/drawing/2014/main" id="{DFB914CB-C45E-44DD-8329-E574449D554E}"/>
                </a:ext>
              </a:extLst>
            </p:cNvPr>
            <p:cNvSpPr/>
            <p:nvPr/>
          </p:nvSpPr>
          <p:spPr>
            <a:xfrm>
              <a:off x="512002" y="2908014"/>
              <a:ext cx="8835763" cy="1756526"/>
            </a:xfrm>
            <a:prstGeom prst="rect">
              <a:avLst/>
            </a:prstGeom>
            <a:noFill/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</p:txBody>
        </p:sp>
      </p:grp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CEFA69EF-75C6-6E29-D762-F29C5BC16971}"/>
              </a:ext>
            </a:extLst>
          </p:cNvPr>
          <p:cNvSpPr txBox="1"/>
          <p:nvPr/>
        </p:nvSpPr>
        <p:spPr>
          <a:xfrm>
            <a:off x="5554261" y="891"/>
            <a:ext cx="124264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【</a:t>
            </a:r>
            <a:r>
              <a:rPr kumimoji="1" lang="ja-JP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九州・沖縄地区</a:t>
            </a:r>
            <a:r>
              <a:rPr kumimoji="1" lang="en-US" altLang="ja-JP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】</a:t>
            </a:r>
            <a:endParaRPr kumimoji="1" lang="ja-JP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DD1111DC-58D7-0292-F72B-0960EB05F9CC}"/>
              </a:ext>
            </a:extLst>
          </p:cNvPr>
          <p:cNvSpPr txBox="1"/>
          <p:nvPr/>
        </p:nvSpPr>
        <p:spPr>
          <a:xfrm>
            <a:off x="5554261" y="262501"/>
            <a:ext cx="30973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1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令和</a:t>
            </a:r>
            <a:r>
              <a:rPr kumimoji="1" lang="en-US" altLang="ja-JP" sz="11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5</a:t>
            </a:r>
            <a:r>
              <a:rPr kumimoji="1" lang="ja-JP" altLang="en-US" sz="1100" b="0" i="0" u="sng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地域脱炭素に向けたマッチングイベント概要書</a:t>
            </a:r>
          </a:p>
        </p:txBody>
      </p:sp>
      <p:pic>
        <p:nvPicPr>
          <p:cNvPr id="24" name="図 23">
            <a:extLst>
              <a:ext uri="{FF2B5EF4-FFF2-40B4-BE49-F238E27FC236}">
                <a16:creationId xmlns:a16="http://schemas.microsoft.com/office/drawing/2014/main" id="{0E13EFF5-98EB-BC07-BE98-515BD4C469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962581" y="43955"/>
            <a:ext cx="762000" cy="552450"/>
          </a:xfrm>
          <a:prstGeom prst="rect">
            <a:avLst/>
          </a:prstGeom>
        </p:spPr>
      </p:pic>
      <p:sp>
        <p:nvSpPr>
          <p:cNvPr id="4" name="テキスト ボックス 1">
            <a:extLst>
              <a:ext uri="{FF2B5EF4-FFF2-40B4-BE49-F238E27FC236}">
                <a16:creationId xmlns:a16="http://schemas.microsoft.com/office/drawing/2014/main" id="{2527D488-8DD8-9BA0-8B52-815FE6BAEC0B}"/>
              </a:ext>
            </a:extLst>
          </p:cNvPr>
          <p:cNvSpPr txBox="1"/>
          <p:nvPr/>
        </p:nvSpPr>
        <p:spPr>
          <a:xfrm>
            <a:off x="-1993" y="6691220"/>
            <a:ext cx="3887603" cy="21544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>
            <a:defPPr>
              <a:defRPr lang="ja-JP"/>
            </a:defPPr>
            <a:lvl1pPr marL="0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9938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39876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9815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79753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99691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19629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39567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59506" algn="l" defTabSz="839876" rtl="0" eaLnBrk="1" latinLnBrk="0" hangingPunct="1">
              <a:defRPr kumimoji="1" sz="165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ja-JP" sz="800" b="0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Times New Roman"/>
              </a:rPr>
              <a:t>※本概要書は、</a:t>
            </a:r>
            <a:r>
              <a:rPr kumimoji="1" lang="ja-JP" altLang="en-US" sz="800" b="0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Times New Roman"/>
              </a:rPr>
              <a:t>ブース出展者及び来場者に事前配布するパンフレット</a:t>
            </a:r>
            <a:r>
              <a:rPr kumimoji="1" lang="ja-JP" altLang="ja-JP" sz="800" b="0" i="0" u="none" strike="noStrike" kern="1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Times New Roman"/>
              </a:rPr>
              <a:t>に掲載する予定です。</a:t>
            </a:r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EB0E83F9-0638-7823-27F5-4F27694B02EE}"/>
              </a:ext>
            </a:extLst>
          </p:cNvPr>
          <p:cNvSpPr/>
          <p:nvPr/>
        </p:nvSpPr>
        <p:spPr>
          <a:xfrm>
            <a:off x="70694" y="1910449"/>
            <a:ext cx="5556080" cy="1575712"/>
          </a:xfrm>
          <a:prstGeom prst="rect">
            <a:avLst/>
          </a:prstGeom>
          <a:noFill/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9ADDFDA8-DF2A-231F-9211-7283734B17B6}"/>
              </a:ext>
            </a:extLst>
          </p:cNvPr>
          <p:cNvSpPr/>
          <p:nvPr/>
        </p:nvSpPr>
        <p:spPr>
          <a:xfrm>
            <a:off x="5912457" y="1910449"/>
            <a:ext cx="3937846" cy="1575712"/>
          </a:xfrm>
          <a:prstGeom prst="rect">
            <a:avLst/>
          </a:prstGeom>
          <a:noFill/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D447BF16-7AD4-4EB4-59EB-5B16DD5216A0}"/>
              </a:ext>
            </a:extLst>
          </p:cNvPr>
          <p:cNvSpPr/>
          <p:nvPr/>
        </p:nvSpPr>
        <p:spPr>
          <a:xfrm>
            <a:off x="70693" y="1715379"/>
            <a:ext cx="9779609" cy="327614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２．地域の抱える課題　</a:t>
            </a:r>
            <a:endParaRPr kumimoji="1" lang="en-US" altLang="ja-JP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E00B4561-9B36-7E59-6E9F-477FADFDCB72}"/>
              </a:ext>
            </a:extLst>
          </p:cNvPr>
          <p:cNvSpPr/>
          <p:nvPr/>
        </p:nvSpPr>
        <p:spPr>
          <a:xfrm>
            <a:off x="70694" y="2075848"/>
            <a:ext cx="1945254" cy="145197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【</a:t>
            </a:r>
            <a:r>
              <a:rPr kumimoji="1" lang="ja-JP" alt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環境・脱炭素に関する課題</a:t>
            </a:r>
            <a:r>
              <a:rPr kumimoji="1" lang="en-US" altLang="ja-JP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】</a:t>
            </a:r>
          </a:p>
        </p:txBody>
      </p:sp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9948309A-8751-0182-353D-981D78EA3FDC}"/>
              </a:ext>
            </a:extLst>
          </p:cNvPr>
          <p:cNvSpPr/>
          <p:nvPr/>
        </p:nvSpPr>
        <p:spPr>
          <a:xfrm>
            <a:off x="5936126" y="2075848"/>
            <a:ext cx="1945254" cy="145197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【</a:t>
            </a:r>
            <a:r>
              <a:rPr kumimoji="1" lang="ja-JP" altLang="en-US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同時解決したい地域の課題</a:t>
            </a:r>
            <a:r>
              <a:rPr kumimoji="1" lang="en-US" altLang="ja-JP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】</a:t>
            </a: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CA192B63-5C8C-2EA0-B66F-CD98F7E6BB06}"/>
              </a:ext>
            </a:extLst>
          </p:cNvPr>
          <p:cNvSpPr txBox="1"/>
          <p:nvPr/>
        </p:nvSpPr>
        <p:spPr>
          <a:xfrm>
            <a:off x="5892138" y="2272890"/>
            <a:ext cx="3909270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水害対策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獣害対策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住みやすいまちづくり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産業活性化による雇用創出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観光地域づくり/観光資源の磨きあげ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2B565DC3-9251-AC03-C602-04D7FADE8BCE}"/>
              </a:ext>
            </a:extLst>
          </p:cNvPr>
          <p:cNvSpPr txBox="1"/>
          <p:nvPr/>
        </p:nvSpPr>
        <p:spPr>
          <a:xfrm>
            <a:off x="111352" y="2400366"/>
            <a:ext cx="55560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公共施設の脱炭素化（</a:t>
            </a: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ZEB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</a:t>
            </a: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ZEH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）</a:t>
            </a: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公用車の脱炭素化（</a:t>
            </a: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EV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導入）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ごみ処理施設の老朽化、ごみ出しや処理費用に関する課題、プラごみ・海洋ごみ対策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エネルギー資金の流出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grpSp>
        <p:nvGrpSpPr>
          <p:cNvPr id="33" name="グループ化 32">
            <a:extLst>
              <a:ext uri="{FF2B5EF4-FFF2-40B4-BE49-F238E27FC236}">
                <a16:creationId xmlns:a16="http://schemas.microsoft.com/office/drawing/2014/main" id="{EC3CDCCC-DD63-CA70-EB18-F6FABB15C386}"/>
              </a:ext>
            </a:extLst>
          </p:cNvPr>
          <p:cNvGrpSpPr/>
          <p:nvPr/>
        </p:nvGrpSpPr>
        <p:grpSpPr>
          <a:xfrm>
            <a:off x="59715" y="3556080"/>
            <a:ext cx="6919925" cy="1436036"/>
            <a:chOff x="512002" y="2435539"/>
            <a:chExt cx="6252071" cy="2372208"/>
          </a:xfrm>
        </p:grpSpPr>
        <p:sp>
          <p:nvSpPr>
            <p:cNvPr id="34" name="正方形/長方形 33">
              <a:extLst>
                <a:ext uri="{FF2B5EF4-FFF2-40B4-BE49-F238E27FC236}">
                  <a16:creationId xmlns:a16="http://schemas.microsoft.com/office/drawing/2014/main" id="{3495C9B6-1C8E-BC5B-58CD-EA1BD4CABDF0}"/>
                </a:ext>
              </a:extLst>
            </p:cNvPr>
            <p:cNvSpPr/>
            <p:nvPr/>
          </p:nvSpPr>
          <p:spPr>
            <a:xfrm>
              <a:off x="512002" y="2435539"/>
              <a:ext cx="6252071" cy="472474"/>
            </a:xfrm>
            <a:prstGeom prst="rect">
              <a:avLst/>
            </a:prstGeom>
            <a:solidFill>
              <a:schemeClr val="tx2"/>
            </a:solidFill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ja-JP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eiryo UI"/>
                  <a:ea typeface="Meiryo UI"/>
                  <a:cs typeface="+mn-cs"/>
                </a:rPr>
                <a:t>３．取組の概要</a:t>
              </a:r>
              <a:endParaRPr kumimoji="1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endParaRPr>
            </a:p>
          </p:txBody>
        </p:sp>
        <p:sp>
          <p:nvSpPr>
            <p:cNvPr id="36" name="正方形/長方形 35">
              <a:extLst>
                <a:ext uri="{FF2B5EF4-FFF2-40B4-BE49-F238E27FC236}">
                  <a16:creationId xmlns:a16="http://schemas.microsoft.com/office/drawing/2014/main" id="{09878549-F399-6FC7-0D91-5DEBF46A9B40}"/>
                </a:ext>
              </a:extLst>
            </p:cNvPr>
            <p:cNvSpPr/>
            <p:nvPr/>
          </p:nvSpPr>
          <p:spPr>
            <a:xfrm>
              <a:off x="512002" y="2908013"/>
              <a:ext cx="6252071" cy="1899734"/>
            </a:xfrm>
            <a:prstGeom prst="rect">
              <a:avLst/>
            </a:prstGeom>
            <a:noFill/>
            <a:ln w="12700" cap="flat" cmpd="sng" algn="ctr">
              <a:solidFill>
                <a:srgbClr val="3EAD92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tx2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  <a:p>
              <a:pPr marL="0" marR="0" lvl="0" indent="0" algn="l" defTabSz="8398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US" altLang="ja-JP" sz="12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endParaRPr>
            </a:p>
          </p:txBody>
        </p:sp>
      </p:grp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6E388A57-026B-107D-6153-A57ACE08B570}"/>
              </a:ext>
            </a:extLst>
          </p:cNvPr>
          <p:cNvSpPr/>
          <p:nvPr/>
        </p:nvSpPr>
        <p:spPr>
          <a:xfrm>
            <a:off x="59715" y="659156"/>
            <a:ext cx="9790587" cy="984847"/>
          </a:xfrm>
          <a:prstGeom prst="rect">
            <a:avLst/>
          </a:prstGeom>
          <a:noFill/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40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EBD1F3B8-C8F5-32E7-FB6C-76EC951E99A7}"/>
              </a:ext>
            </a:extLst>
          </p:cNvPr>
          <p:cNvSpPr/>
          <p:nvPr/>
        </p:nvSpPr>
        <p:spPr>
          <a:xfrm>
            <a:off x="70695" y="666069"/>
            <a:ext cx="9768630" cy="327614"/>
          </a:xfrm>
          <a:prstGeom prst="rect">
            <a:avLst/>
          </a:prstGeom>
          <a:solidFill>
            <a:schemeClr val="tx2"/>
          </a:solidFill>
          <a:ln w="12700" cap="flat" cmpd="sng" algn="ctr">
            <a:solidFill>
              <a:srgbClr val="3EAD9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１．地域特性（ビジョンなど）</a:t>
            </a:r>
            <a:endParaRPr kumimoji="1" lang="en-US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43" name="正方形/長方形 42">
            <a:extLst>
              <a:ext uri="{FF2B5EF4-FFF2-40B4-BE49-F238E27FC236}">
                <a16:creationId xmlns:a16="http://schemas.microsoft.com/office/drawing/2014/main" id="{41CC0FEA-4252-08AD-2C83-5D3D58C607D5}"/>
              </a:ext>
            </a:extLst>
          </p:cNvPr>
          <p:cNvSpPr/>
          <p:nvPr/>
        </p:nvSpPr>
        <p:spPr>
          <a:xfrm>
            <a:off x="7128089" y="3565456"/>
            <a:ext cx="2666559" cy="1425974"/>
          </a:xfrm>
          <a:prstGeom prst="rect">
            <a:avLst/>
          </a:prstGeom>
          <a:noFill/>
          <a:ln>
            <a:solidFill>
              <a:srgbClr val="009C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取組の方向性・概要等のイメージ</a:t>
            </a:r>
            <a:endParaRPr kumimoji="1" lang="en-US" altLang="ja-JP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  <a:p>
            <a:pPr marL="0" marR="0" lvl="0" indent="0" algn="ctr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t>（イラスト・写真掲載の欄として活用ください）</a:t>
            </a:r>
            <a:endParaRPr kumimoji="1" lang="en-US" altLang="ja-JP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6E9A03DB-5EA5-71BC-6D04-097D9EC54800}"/>
              </a:ext>
            </a:extLst>
          </p:cNvPr>
          <p:cNvSpPr txBox="1"/>
          <p:nvPr/>
        </p:nvSpPr>
        <p:spPr>
          <a:xfrm>
            <a:off x="2097386" y="2120732"/>
            <a:ext cx="3258496" cy="646331"/>
          </a:xfrm>
          <a:prstGeom prst="rect">
            <a:avLst/>
          </a:prstGeom>
          <a:solidFill>
            <a:schemeClr val="bg2">
              <a:lumMod val="10000"/>
              <a:lumOff val="90000"/>
            </a:schemeClr>
          </a:solidFill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※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スライド１枚におさまるように作成お願いします。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※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文字は</a:t>
            </a: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12pt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以上の大きさでお願いします。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※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必要に応じ、枠の大きさ</a:t>
            </a:r>
            <a:r>
              <a:rPr lang="ja-JP" altLang="en-US" sz="1200" dirty="0">
                <a:latin typeface="Meiryo UI"/>
                <a:ea typeface="Meiryo UI"/>
              </a:rPr>
              <a:t>は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 UI"/>
                <a:ea typeface="Meiryo UI"/>
                <a:cs typeface="+mn-cs"/>
              </a:rPr>
              <a:t>変更可能</a:t>
            </a:r>
            <a:endParaRPr lang="ja-JP" altLang="en-US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 UI"/>
              <a:ea typeface="Meiryo UI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9F272906-8C2C-49E2-1BA6-8B1891D68E3E}"/>
              </a:ext>
            </a:extLst>
          </p:cNvPr>
          <p:cNvSpPr txBox="1"/>
          <p:nvPr/>
        </p:nvSpPr>
        <p:spPr>
          <a:xfrm>
            <a:off x="111351" y="1024269"/>
            <a:ext cx="950291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社会的特性</a:t>
            </a:r>
            <a:r>
              <a:rPr lang="ja-JP" altLang="en-US" sz="1200" dirty="0">
                <a:solidFill>
                  <a:prstClr val="white">
                    <a:lumMod val="65000"/>
                  </a:prstClr>
                </a:solidFill>
                <a:latin typeface="Meiryo UI"/>
                <a:ea typeface="Meiryo UI"/>
              </a:rPr>
              <a:t>：主な産業は製造業であり、製造時に排出される</a:t>
            </a:r>
            <a:r>
              <a:rPr lang="en-US" altLang="ja-JP" sz="1200" dirty="0">
                <a:solidFill>
                  <a:prstClr val="white">
                    <a:lumMod val="65000"/>
                  </a:prstClr>
                </a:solidFill>
                <a:latin typeface="Meiryo UI"/>
                <a:ea typeface="Meiryo UI"/>
              </a:rPr>
              <a:t>CO</a:t>
            </a:r>
            <a:r>
              <a:rPr lang="ja-JP" altLang="en-US" sz="1200" dirty="0">
                <a:solidFill>
                  <a:prstClr val="white">
                    <a:lumMod val="65000"/>
                  </a:prstClr>
                </a:solidFill>
                <a:latin typeface="Meiryo UI"/>
                <a:ea typeface="Meiryo UI"/>
              </a:rPr>
              <a:t>２排出量が約</a:t>
            </a:r>
            <a:r>
              <a:rPr lang="en-US" altLang="ja-JP" sz="1200" dirty="0">
                <a:solidFill>
                  <a:prstClr val="white">
                    <a:lumMod val="65000"/>
                  </a:prstClr>
                </a:solidFill>
                <a:latin typeface="Meiryo UI"/>
                <a:ea typeface="Meiryo UI"/>
              </a:rPr>
              <a:t>70</a:t>
            </a:r>
            <a:r>
              <a:rPr lang="ja-JP" altLang="en-US" sz="1200" dirty="0">
                <a:solidFill>
                  <a:prstClr val="white">
                    <a:lumMod val="65000"/>
                  </a:prstClr>
                </a:solidFill>
                <a:latin typeface="Meiryo UI"/>
                <a:ea typeface="Meiryo UI"/>
              </a:rPr>
              <a:t>％を占めております。</a:t>
            </a:r>
            <a:endParaRPr lang="en-US" altLang="ja-JP" sz="1200" dirty="0">
              <a:solidFill>
                <a:prstClr val="white">
                  <a:lumMod val="65000"/>
                </a:prstClr>
              </a:solidFill>
              <a:latin typeface="Meiryo UI"/>
              <a:ea typeface="Meiryo UI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Meiryo UI"/>
                <a:ea typeface="Meiryo UI"/>
                <a:cs typeface="+mn-cs"/>
              </a:rPr>
              <a:t>・自然的特性：山間部では人口減少、近年の集中豪雨により孤立集落が発生しました。温暖な気候を使った「〇〇みかん」をブランド化しております。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  <a:p>
            <a:pPr marL="0" marR="0" lvl="0" indent="0" algn="l" defTabSz="8398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200" dirty="0">
                <a:solidFill>
                  <a:prstClr val="white">
                    <a:lumMod val="65000"/>
                  </a:prstClr>
                </a:solidFill>
                <a:latin typeface="Meiryo UI"/>
                <a:ea typeface="Meiryo UI"/>
              </a:rPr>
              <a:t>・</a:t>
            </a:r>
            <a:r>
              <a:rPr lang="en-US" altLang="ja-JP" sz="1200" dirty="0">
                <a:solidFill>
                  <a:prstClr val="white">
                    <a:lumMod val="65000"/>
                  </a:prstClr>
                </a:solidFill>
                <a:latin typeface="Meiryo UI"/>
                <a:ea typeface="Meiryo UI"/>
              </a:rPr>
              <a:t>2021</a:t>
            </a:r>
            <a:r>
              <a:rPr lang="ja-JP" altLang="en-US" sz="1200" dirty="0">
                <a:solidFill>
                  <a:prstClr val="white">
                    <a:lumMod val="65000"/>
                  </a:prstClr>
                </a:solidFill>
                <a:latin typeface="Meiryo UI"/>
                <a:ea typeface="Meiryo UI"/>
              </a:rPr>
              <a:t>年カーボンニュートラル宣言を行い、本宣言に基づいて「脱炭素戦略ビジョン」を掲げております。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Meiryo UI"/>
              <a:ea typeface="Meiryo UI"/>
              <a:cs typeface="+mn-cs"/>
            </a:endParaRP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507FFC6D-0837-F54C-4841-FF8E1C3E1931}"/>
              </a:ext>
            </a:extLst>
          </p:cNvPr>
          <p:cNvSpPr txBox="1"/>
          <p:nvPr/>
        </p:nvSpPr>
        <p:spPr>
          <a:xfrm>
            <a:off x="111351" y="3893923"/>
            <a:ext cx="668555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・〇〇エリアの公共施設（公民館・図書館など）に蓄電池付き太陽光パネルの設置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・廃材を活用した木質バイオマス発電施設を建設し、エネルギー資源を域内循環を図る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・農園にソーラーシェアリングを導入し、獣害対策を図る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・住宅の</a:t>
            </a:r>
            <a:r>
              <a:rPr lang="en-US" altLang="ja-JP" sz="1200" dirty="0">
                <a:solidFill>
                  <a:schemeClr val="bg1">
                    <a:lumMod val="65000"/>
                  </a:schemeClr>
                </a:solidFill>
              </a:rPr>
              <a:t>ZEB</a:t>
            </a:r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化、乗用車の</a:t>
            </a:r>
            <a:r>
              <a:rPr lang="en-US" altLang="ja-JP" sz="1200" dirty="0">
                <a:solidFill>
                  <a:schemeClr val="bg1">
                    <a:lumMod val="65000"/>
                  </a:schemeClr>
                </a:solidFill>
              </a:rPr>
              <a:t>EV</a:t>
            </a:r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化を促進。かつ</a:t>
            </a:r>
            <a:r>
              <a:rPr lang="en-US" altLang="ja-JP" sz="1200" dirty="0">
                <a:solidFill>
                  <a:schemeClr val="bg1">
                    <a:lumMod val="65000"/>
                  </a:schemeClr>
                </a:solidFill>
              </a:rPr>
              <a:t>V2H</a:t>
            </a:r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導入により災害時の非常用電源として活用する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・温室効果ガス排出ゼロを銘打ったフルーツを開発し、地域の活性化とともに雇用の創出を図る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BE99401A-1774-22DF-5DD1-174B7AA4C448}"/>
              </a:ext>
            </a:extLst>
          </p:cNvPr>
          <p:cNvSpPr txBox="1"/>
          <p:nvPr/>
        </p:nvSpPr>
        <p:spPr>
          <a:xfrm>
            <a:off x="111351" y="5530850"/>
            <a:ext cx="999467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当市では</a:t>
            </a:r>
            <a:r>
              <a:rPr lang="en-US" altLang="ja-JP" sz="1200" dirty="0">
                <a:solidFill>
                  <a:schemeClr val="bg1">
                    <a:lumMod val="65000"/>
                  </a:schemeClr>
                </a:solidFill>
              </a:rPr>
              <a:t>20XX</a:t>
            </a:r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年までにカーボンニュートラルを実現し、そのマイルストーンとして</a:t>
            </a:r>
            <a:r>
              <a:rPr lang="en-US" altLang="ja-JP" sz="1200" dirty="0">
                <a:solidFill>
                  <a:schemeClr val="bg1">
                    <a:lumMod val="65000"/>
                  </a:schemeClr>
                </a:solidFill>
              </a:rPr>
              <a:t>20XX</a:t>
            </a:r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年までに対</a:t>
            </a:r>
            <a:r>
              <a:rPr lang="en-US" altLang="ja-JP" sz="1200" dirty="0">
                <a:solidFill>
                  <a:schemeClr val="bg1">
                    <a:lumMod val="65000"/>
                  </a:schemeClr>
                </a:solidFill>
              </a:rPr>
              <a:t>2013</a:t>
            </a:r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年比〇％の</a:t>
            </a:r>
            <a:r>
              <a:rPr lang="en-US" altLang="ja-JP" sz="1200" dirty="0">
                <a:solidFill>
                  <a:schemeClr val="bg1">
                    <a:lumMod val="65000"/>
                  </a:schemeClr>
                </a:solidFill>
              </a:rPr>
              <a:t>CO2</a:t>
            </a:r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削減を宣言しております。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上記を実現するために、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・太陽光発電の設置に向けた調査、設置、運用・保守事業（第三者所有モデル）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・新電力会社の設立と運営支援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・着実に実行するための計画策定</a:t>
            </a:r>
            <a:r>
              <a:rPr lang="en-US" altLang="ja-JP" sz="1200" dirty="0">
                <a:solidFill>
                  <a:schemeClr val="bg1">
                    <a:lumMod val="65000"/>
                  </a:schemeClr>
                </a:solidFill>
              </a:rPr>
              <a:t>/</a:t>
            </a:r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施策検討・検証などの人材支援（企業型ふるさと納税など）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ja-JP" altLang="en-US" sz="1200" dirty="0">
                <a:solidFill>
                  <a:schemeClr val="bg1">
                    <a:lumMod val="65000"/>
                  </a:schemeClr>
                </a:solidFill>
              </a:rPr>
              <a:t>のご協力を賜りたいと考えております。</a:t>
            </a:r>
            <a:endParaRPr lang="en-US" altLang="ja-JP" sz="12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6753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e378f461-5c73-46ec-9281-d7e45e6a289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環境省template">
      <a:dk1>
        <a:sysClr val="windowText" lastClr="000000"/>
      </a:dk1>
      <a:lt1>
        <a:sysClr val="window" lastClr="FFFFFF"/>
      </a:lt1>
      <a:dk2>
        <a:srgbClr val="009C89"/>
      </a:dk2>
      <a:lt2>
        <a:srgbClr val="00584E"/>
      </a:lt2>
      <a:accent1>
        <a:srgbClr val="38BEE2"/>
      </a:accent1>
      <a:accent2>
        <a:srgbClr val="43B99A"/>
      </a:accent2>
      <a:accent3>
        <a:srgbClr val="83A4D1"/>
      </a:accent3>
      <a:accent4>
        <a:srgbClr val="C89E28"/>
      </a:accent4>
      <a:accent5>
        <a:srgbClr val="AC353C"/>
      </a:accent5>
      <a:accent6>
        <a:srgbClr val="ED7D31"/>
      </a:accent6>
      <a:hlink>
        <a:srgbClr val="0563C1"/>
      </a:hlink>
      <a:folHlink>
        <a:srgbClr val="954F72"/>
      </a:folHlink>
    </a:clrScheme>
    <a:fontScheme name="環境省template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0" tIns="0" rIns="0" bIns="0" rtlCol="0" anchor="ctr"/>
      <a:lstStyle>
        <a:defPPr algn="ctr">
          <a:defRPr kumimoji="1" sz="1600" dirty="0" smtClean="0">
            <a:solidFill>
              <a:schemeClr val="tx1"/>
            </a:solidFill>
            <a:latin typeface="Meiryo UI" panose="020B0604030504040204" pitchFamily="50" charset="-128"/>
            <a:ea typeface="Meiryo UI" panose="020B0604030504040204" pitchFamily="50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環境省template（ロゴ有）_ver2.6_2021年3月.pptx" id="{A4928C7A-3F49-45C8-AE77-701D1ED81965}" vid="{0519821F-0629-429F-A4D0-9B3049E80A4B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環境省template（ロゴ有）_ver2.6_2021年3月</Template>
  <Words>630</Words>
  <PresentationFormat>A4 210 x 297 mm</PresentationFormat>
  <Paragraphs>72</Paragraphs>
  <Slides>2</Slides>
  <Notes>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0" baseType="lpstr">
      <vt:lpstr>BIZ UDPゴシック</vt:lpstr>
      <vt:lpstr>Meiryo UI</vt:lpstr>
      <vt:lpstr>Noto Sans JP</vt:lpstr>
      <vt:lpstr>游ゴシック</vt:lpstr>
      <vt:lpstr>Arial</vt:lpstr>
      <vt:lpstr>Wingdings</vt:lpstr>
      <vt:lpstr>Office テーマ</vt:lpstr>
      <vt:lpstr>think-cell Slide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/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0d5c4f4-7a29-4385-b7a5-afbe2154ae6f_Enabled">
    <vt:lpwstr>true</vt:lpwstr>
  </property>
  <property fmtid="{D5CDD505-2E9C-101B-9397-08002B2CF9AE}" pid="3" name="MSIP_Label_b0d5c4f4-7a29-4385-b7a5-afbe2154ae6f_SetDate">
    <vt:lpwstr>2021-11-17T06:52:35Z</vt:lpwstr>
  </property>
  <property fmtid="{D5CDD505-2E9C-101B-9397-08002B2CF9AE}" pid="4" name="MSIP_Label_b0d5c4f4-7a29-4385-b7a5-afbe2154ae6f_Method">
    <vt:lpwstr>Standard</vt:lpwstr>
  </property>
  <property fmtid="{D5CDD505-2E9C-101B-9397-08002B2CF9AE}" pid="5" name="MSIP_Label_b0d5c4f4-7a29-4385-b7a5-afbe2154ae6f_Name">
    <vt:lpwstr>Confidential</vt:lpwstr>
  </property>
  <property fmtid="{D5CDD505-2E9C-101B-9397-08002B2CF9AE}" pid="6" name="MSIP_Label_b0d5c4f4-7a29-4385-b7a5-afbe2154ae6f_SiteId">
    <vt:lpwstr>2dfb2f0b-4d21-4268-9559-72926144c918</vt:lpwstr>
  </property>
  <property fmtid="{D5CDD505-2E9C-101B-9397-08002B2CF9AE}" pid="7" name="MSIP_Label_b0d5c4f4-7a29-4385-b7a5-afbe2154ae6f_ActionId">
    <vt:lpwstr>4c81b910-da16-4b3e-abc4-c64679618681</vt:lpwstr>
  </property>
  <property fmtid="{D5CDD505-2E9C-101B-9397-08002B2CF9AE}" pid="8" name="MSIP_Label_b0d5c4f4-7a29-4385-b7a5-afbe2154ae6f_ContentBits">
    <vt:lpwstr>0</vt:lpwstr>
  </property>
  <property fmtid="{D5CDD505-2E9C-101B-9397-08002B2CF9AE}" pid="9" name="bcgClassification">
    <vt:lpwstr>bcgConfidential</vt:lpwstr>
  </property>
</Properties>
</file>